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4.xml" ContentType="application/vnd.openxmlformats-officedocument.theme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5" r:id="rId2"/>
    <p:sldMasterId id="2147483679" r:id="rId3"/>
    <p:sldMasterId id="2147483692" r:id="rId4"/>
    <p:sldMasterId id="2147483762" r:id="rId5"/>
  </p:sldMasterIdLst>
  <p:notesMasterIdLst>
    <p:notesMasterId r:id="rId17"/>
  </p:notesMasterIdLst>
  <p:sldIdLst>
    <p:sldId id="2147481399" r:id="rId6"/>
    <p:sldId id="2147483591" r:id="rId7"/>
    <p:sldId id="2147483592" r:id="rId8"/>
    <p:sldId id="258" r:id="rId9"/>
    <p:sldId id="2147481401" r:id="rId10"/>
    <p:sldId id="290" r:id="rId11"/>
    <p:sldId id="2147483597" r:id="rId12"/>
    <p:sldId id="2147483600" r:id="rId13"/>
    <p:sldId id="292" r:id="rId14"/>
    <p:sldId id="259" r:id="rId15"/>
    <p:sldId id="2147481400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8550101-52F3-40A8-AC09-7ACB91BCF43C}">
          <p14:sldIdLst>
            <p14:sldId id="2147481399"/>
            <p14:sldId id="2147483591"/>
          </p14:sldIdLst>
        </p14:section>
        <p14:section name="Reference" id="{C0FBD9A5-8F65-4FE6-9DE7-240962CC4420}">
          <p14:sldIdLst>
            <p14:sldId id="2147483592"/>
            <p14:sldId id="258"/>
          </p14:sldIdLst>
        </p14:section>
        <p14:section name="Plan" id="{FE25711F-42D8-40F0-9202-F90E6BEDC287}">
          <p14:sldIdLst>
            <p14:sldId id="2147481401"/>
            <p14:sldId id="290"/>
            <p14:sldId id="2147483597"/>
            <p14:sldId id="2147483600"/>
            <p14:sldId id="292"/>
            <p14:sldId id="259"/>
            <p14:sldId id="214748140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BC39D2C-F6B6-4724-819C-323239FEC9D3}" v="16" dt="2025-03-05T13:09:38.530"/>
    <p1510:client id="{39C6D7B0-8EA4-470E-AECA-58056EC694C7}" v="1272" dt="2025-03-05T13:07:25.203"/>
    <p1510:client id="{C47A83A9-490A-48AB-B604-1B941EB2C3A5}" v="6" dt="2025-03-05T11:52:18.39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avya Singh" userId="cd673361-64ef-4ed2-afd4-a7b21638fb08" providerId="ADAL" clId="{39C6D7B0-8EA4-470E-AECA-58056EC694C7}"/>
    <pc:docChg chg="undo redo custSel addSld modSld modSection">
      <pc:chgData name="Navya Singh" userId="cd673361-64ef-4ed2-afd4-a7b21638fb08" providerId="ADAL" clId="{39C6D7B0-8EA4-470E-AECA-58056EC694C7}" dt="2025-03-05T13:07:25.203" v="1271" actId="1037"/>
      <pc:docMkLst>
        <pc:docMk/>
      </pc:docMkLst>
      <pc:sldChg chg="modTransition">
        <pc:chgData name="Navya Singh" userId="cd673361-64ef-4ed2-afd4-a7b21638fb08" providerId="ADAL" clId="{39C6D7B0-8EA4-470E-AECA-58056EC694C7}" dt="2025-03-05T13:04:42.678" v="1236"/>
        <pc:sldMkLst>
          <pc:docMk/>
          <pc:sldMk cId="1505020791" sldId="292"/>
        </pc:sldMkLst>
      </pc:sldChg>
      <pc:sldChg chg="modSp mod">
        <pc:chgData name="Navya Singh" userId="cd673361-64ef-4ed2-afd4-a7b21638fb08" providerId="ADAL" clId="{39C6D7B0-8EA4-470E-AECA-58056EC694C7}" dt="2025-03-05T13:07:25.203" v="1271" actId="1037"/>
        <pc:sldMkLst>
          <pc:docMk/>
          <pc:sldMk cId="2312010352" sldId="2147481401"/>
        </pc:sldMkLst>
        <pc:spChg chg="mod">
          <ac:chgData name="Navya Singh" userId="cd673361-64ef-4ed2-afd4-a7b21638fb08" providerId="ADAL" clId="{39C6D7B0-8EA4-470E-AECA-58056EC694C7}" dt="2025-03-05T13:07:25.203" v="1271" actId="1037"/>
          <ac:spMkLst>
            <pc:docMk/>
            <pc:sldMk cId="2312010352" sldId="2147481401"/>
            <ac:spMk id="8" creationId="{A2A6342E-1856-FBEC-4C02-EBF2D4F0107C}"/>
          </ac:spMkLst>
        </pc:spChg>
        <pc:spChg chg="mod">
          <ac:chgData name="Navya Singh" userId="cd673361-64ef-4ed2-afd4-a7b21638fb08" providerId="ADAL" clId="{39C6D7B0-8EA4-470E-AECA-58056EC694C7}" dt="2025-03-05T13:07:25.203" v="1271" actId="1037"/>
          <ac:spMkLst>
            <pc:docMk/>
            <pc:sldMk cId="2312010352" sldId="2147481401"/>
            <ac:spMk id="13" creationId="{0FB6F464-8ACC-0B1B-F7FD-5019A75E6172}"/>
          </ac:spMkLst>
        </pc:spChg>
        <pc:spChg chg="mod">
          <ac:chgData name="Navya Singh" userId="cd673361-64ef-4ed2-afd4-a7b21638fb08" providerId="ADAL" clId="{39C6D7B0-8EA4-470E-AECA-58056EC694C7}" dt="2025-03-05T13:07:25.203" v="1271" actId="1037"/>
          <ac:spMkLst>
            <pc:docMk/>
            <pc:sldMk cId="2312010352" sldId="2147481401"/>
            <ac:spMk id="14" creationId="{969128F3-7FC0-1941-47C5-0C0263124BF3}"/>
          </ac:spMkLst>
        </pc:spChg>
        <pc:spChg chg="mod">
          <ac:chgData name="Navya Singh" userId="cd673361-64ef-4ed2-afd4-a7b21638fb08" providerId="ADAL" clId="{39C6D7B0-8EA4-470E-AECA-58056EC694C7}" dt="2025-03-05T13:06:01.004" v="1260" actId="1038"/>
          <ac:spMkLst>
            <pc:docMk/>
            <pc:sldMk cId="2312010352" sldId="2147481401"/>
            <ac:spMk id="95" creationId="{1C20AD33-28E9-42A0-06EB-11F9EEC58F39}"/>
          </ac:spMkLst>
        </pc:spChg>
        <pc:spChg chg="mod">
          <ac:chgData name="Navya Singh" userId="cd673361-64ef-4ed2-afd4-a7b21638fb08" providerId="ADAL" clId="{39C6D7B0-8EA4-470E-AECA-58056EC694C7}" dt="2025-03-05T13:06:01.004" v="1260" actId="1038"/>
          <ac:spMkLst>
            <pc:docMk/>
            <pc:sldMk cId="2312010352" sldId="2147481401"/>
            <ac:spMk id="150" creationId="{C90EFCEC-659E-24FE-99F1-80061C74BEAC}"/>
          </ac:spMkLst>
        </pc:spChg>
        <pc:spChg chg="mod">
          <ac:chgData name="Navya Singh" userId="cd673361-64ef-4ed2-afd4-a7b21638fb08" providerId="ADAL" clId="{39C6D7B0-8EA4-470E-AECA-58056EC694C7}" dt="2025-03-05T13:06:01.004" v="1260" actId="1038"/>
          <ac:spMkLst>
            <pc:docMk/>
            <pc:sldMk cId="2312010352" sldId="2147481401"/>
            <ac:spMk id="151" creationId="{2A75C166-7876-6FF8-B625-DD67075EEB6F}"/>
          </ac:spMkLst>
        </pc:spChg>
        <pc:spChg chg="mod">
          <ac:chgData name="Navya Singh" userId="cd673361-64ef-4ed2-afd4-a7b21638fb08" providerId="ADAL" clId="{39C6D7B0-8EA4-470E-AECA-58056EC694C7}" dt="2025-03-05T13:06:01.004" v="1260" actId="1038"/>
          <ac:spMkLst>
            <pc:docMk/>
            <pc:sldMk cId="2312010352" sldId="2147481401"/>
            <ac:spMk id="152" creationId="{A320A7B4-BBE4-1226-EE4C-976EA8F861EF}"/>
          </ac:spMkLst>
        </pc:spChg>
        <pc:spChg chg="mod">
          <ac:chgData name="Navya Singh" userId="cd673361-64ef-4ed2-afd4-a7b21638fb08" providerId="ADAL" clId="{39C6D7B0-8EA4-470E-AECA-58056EC694C7}" dt="2025-03-05T13:06:01.004" v="1260" actId="1038"/>
          <ac:spMkLst>
            <pc:docMk/>
            <pc:sldMk cId="2312010352" sldId="2147481401"/>
            <ac:spMk id="153" creationId="{E25A3956-185B-52F0-9A6E-E0DAF9A20D2E}"/>
          </ac:spMkLst>
        </pc:spChg>
      </pc:sldChg>
      <pc:sldChg chg="addSp delSp modSp mod">
        <pc:chgData name="Navya Singh" userId="cd673361-64ef-4ed2-afd4-a7b21638fb08" providerId="ADAL" clId="{39C6D7B0-8EA4-470E-AECA-58056EC694C7}" dt="2025-03-05T12:42:24.944" v="45" actId="164"/>
        <pc:sldMkLst>
          <pc:docMk/>
          <pc:sldMk cId="49438611" sldId="2147483597"/>
        </pc:sldMkLst>
        <pc:spChg chg="mod">
          <ac:chgData name="Navya Singh" userId="cd673361-64ef-4ed2-afd4-a7b21638fb08" providerId="ADAL" clId="{39C6D7B0-8EA4-470E-AECA-58056EC694C7}" dt="2025-03-05T12:42:15.782" v="44" actId="1035"/>
          <ac:spMkLst>
            <pc:docMk/>
            <pc:sldMk cId="49438611" sldId="2147483597"/>
            <ac:spMk id="2" creationId="{ECC58D3A-021C-4CF2-6039-24EAE060861D}"/>
          </ac:spMkLst>
        </pc:spChg>
        <pc:spChg chg="mod topLvl">
          <ac:chgData name="Navya Singh" userId="cd673361-64ef-4ed2-afd4-a7b21638fb08" providerId="ADAL" clId="{39C6D7B0-8EA4-470E-AECA-58056EC694C7}" dt="2025-03-05T12:42:24.944" v="45" actId="164"/>
          <ac:spMkLst>
            <pc:docMk/>
            <pc:sldMk cId="49438611" sldId="2147483597"/>
            <ac:spMk id="3" creationId="{37E26560-5425-057B-AC99-79C637608B18}"/>
          </ac:spMkLst>
        </pc:spChg>
        <pc:spChg chg="mod topLvl">
          <ac:chgData name="Navya Singh" userId="cd673361-64ef-4ed2-afd4-a7b21638fb08" providerId="ADAL" clId="{39C6D7B0-8EA4-470E-AECA-58056EC694C7}" dt="2025-03-05T12:42:24.944" v="45" actId="164"/>
          <ac:spMkLst>
            <pc:docMk/>
            <pc:sldMk cId="49438611" sldId="2147483597"/>
            <ac:spMk id="4" creationId="{EEBB6D2C-D0CB-AFD4-AABB-F02F333BBD52}"/>
          </ac:spMkLst>
        </pc:spChg>
        <pc:spChg chg="mod topLvl">
          <ac:chgData name="Navya Singh" userId="cd673361-64ef-4ed2-afd4-a7b21638fb08" providerId="ADAL" clId="{39C6D7B0-8EA4-470E-AECA-58056EC694C7}" dt="2025-03-05T12:42:24.944" v="45" actId="164"/>
          <ac:spMkLst>
            <pc:docMk/>
            <pc:sldMk cId="49438611" sldId="2147483597"/>
            <ac:spMk id="6" creationId="{B9E6E254-67E3-452E-089D-58FB5ED14855}"/>
          </ac:spMkLst>
        </pc:spChg>
        <pc:spChg chg="mod">
          <ac:chgData name="Navya Singh" userId="cd673361-64ef-4ed2-afd4-a7b21638fb08" providerId="ADAL" clId="{39C6D7B0-8EA4-470E-AECA-58056EC694C7}" dt="2025-03-05T12:41:23.957" v="23" actId="14100"/>
          <ac:spMkLst>
            <pc:docMk/>
            <pc:sldMk cId="49438611" sldId="2147483597"/>
            <ac:spMk id="7" creationId="{2577A556-39FB-A624-845D-45C6C77627D3}"/>
          </ac:spMkLst>
        </pc:spChg>
        <pc:spChg chg="mod topLvl">
          <ac:chgData name="Navya Singh" userId="cd673361-64ef-4ed2-afd4-a7b21638fb08" providerId="ADAL" clId="{39C6D7B0-8EA4-470E-AECA-58056EC694C7}" dt="2025-03-05T12:42:24.944" v="45" actId="164"/>
          <ac:spMkLst>
            <pc:docMk/>
            <pc:sldMk cId="49438611" sldId="2147483597"/>
            <ac:spMk id="8" creationId="{E260C1F1-45A8-0857-DC0C-FA430837AA7D}"/>
          </ac:spMkLst>
        </pc:spChg>
        <pc:spChg chg="mod">
          <ac:chgData name="Navya Singh" userId="cd673361-64ef-4ed2-afd4-a7b21638fb08" providerId="ADAL" clId="{39C6D7B0-8EA4-470E-AECA-58056EC694C7}" dt="2025-03-05T12:40:57.269" v="17" actId="14100"/>
          <ac:spMkLst>
            <pc:docMk/>
            <pc:sldMk cId="49438611" sldId="2147483597"/>
            <ac:spMk id="13" creationId="{4D5CD49B-909B-C5EB-7B72-5785F04DBBDF}"/>
          </ac:spMkLst>
        </pc:spChg>
        <pc:spChg chg="add mod">
          <ac:chgData name="Navya Singh" userId="cd673361-64ef-4ed2-afd4-a7b21638fb08" providerId="ADAL" clId="{39C6D7B0-8EA4-470E-AECA-58056EC694C7}" dt="2025-03-05T12:38:10.715" v="3" actId="14100"/>
          <ac:spMkLst>
            <pc:docMk/>
            <pc:sldMk cId="49438611" sldId="2147483597"/>
            <ac:spMk id="14" creationId="{5A799EE4-411D-9DD5-4281-E5C6D74D029C}"/>
          </ac:spMkLst>
        </pc:spChg>
        <pc:spChg chg="mod topLvl">
          <ac:chgData name="Navya Singh" userId="cd673361-64ef-4ed2-afd4-a7b21638fb08" providerId="ADAL" clId="{39C6D7B0-8EA4-470E-AECA-58056EC694C7}" dt="2025-03-05T12:42:24.944" v="45" actId="164"/>
          <ac:spMkLst>
            <pc:docMk/>
            <pc:sldMk cId="49438611" sldId="2147483597"/>
            <ac:spMk id="17" creationId="{6E2DBAB1-7F45-0CC8-CE68-E3F5020ED127}"/>
          </ac:spMkLst>
        </pc:spChg>
        <pc:spChg chg="mod">
          <ac:chgData name="Navya Singh" userId="cd673361-64ef-4ed2-afd4-a7b21638fb08" providerId="ADAL" clId="{39C6D7B0-8EA4-470E-AECA-58056EC694C7}" dt="2025-03-05T12:42:11.322" v="42" actId="1037"/>
          <ac:spMkLst>
            <pc:docMk/>
            <pc:sldMk cId="49438611" sldId="2147483597"/>
            <ac:spMk id="18" creationId="{AC89A241-CB87-4659-0D81-91ADA1CBAC13}"/>
          </ac:spMkLst>
        </pc:spChg>
        <pc:spChg chg="mod topLvl">
          <ac:chgData name="Navya Singh" userId="cd673361-64ef-4ed2-afd4-a7b21638fb08" providerId="ADAL" clId="{39C6D7B0-8EA4-470E-AECA-58056EC694C7}" dt="2025-03-05T12:42:24.944" v="45" actId="164"/>
          <ac:spMkLst>
            <pc:docMk/>
            <pc:sldMk cId="49438611" sldId="2147483597"/>
            <ac:spMk id="20" creationId="{0C59A92A-70DF-3357-E302-15CE2733ACE0}"/>
          </ac:spMkLst>
        </pc:spChg>
        <pc:spChg chg="mod">
          <ac:chgData name="Navya Singh" userId="cd673361-64ef-4ed2-afd4-a7b21638fb08" providerId="ADAL" clId="{39C6D7B0-8EA4-470E-AECA-58056EC694C7}" dt="2025-03-05T12:42:11.322" v="42" actId="1037"/>
          <ac:spMkLst>
            <pc:docMk/>
            <pc:sldMk cId="49438611" sldId="2147483597"/>
            <ac:spMk id="21" creationId="{38879A18-B059-B19F-1512-89BF3A6C9AD0}"/>
          </ac:spMkLst>
        </pc:spChg>
        <pc:spChg chg="mod">
          <ac:chgData name="Navya Singh" userId="cd673361-64ef-4ed2-afd4-a7b21638fb08" providerId="ADAL" clId="{39C6D7B0-8EA4-470E-AECA-58056EC694C7}" dt="2025-03-05T12:42:24.944" v="45" actId="164"/>
          <ac:spMkLst>
            <pc:docMk/>
            <pc:sldMk cId="49438611" sldId="2147483597"/>
            <ac:spMk id="22" creationId="{BFA5BDA1-7E64-3BD6-778D-B2880A1B05A1}"/>
          </ac:spMkLst>
        </pc:spChg>
        <pc:spChg chg="mod">
          <ac:chgData name="Navya Singh" userId="cd673361-64ef-4ed2-afd4-a7b21638fb08" providerId="ADAL" clId="{39C6D7B0-8EA4-470E-AECA-58056EC694C7}" dt="2025-03-05T12:42:11.322" v="42" actId="1037"/>
          <ac:spMkLst>
            <pc:docMk/>
            <pc:sldMk cId="49438611" sldId="2147483597"/>
            <ac:spMk id="23" creationId="{11B3D8BF-8B6E-A3BD-1625-F00EAED61760}"/>
          </ac:spMkLst>
        </pc:spChg>
        <pc:spChg chg="mod">
          <ac:chgData name="Navya Singh" userId="cd673361-64ef-4ed2-afd4-a7b21638fb08" providerId="ADAL" clId="{39C6D7B0-8EA4-470E-AECA-58056EC694C7}" dt="2025-03-05T12:39:20.472" v="6" actId="465"/>
          <ac:spMkLst>
            <pc:docMk/>
            <pc:sldMk cId="49438611" sldId="2147483597"/>
            <ac:spMk id="24" creationId="{BE1A8974-FDB6-46C4-D818-F3C5C1E5FAAA}"/>
          </ac:spMkLst>
        </pc:spChg>
        <pc:spChg chg="mod topLvl">
          <ac:chgData name="Navya Singh" userId="cd673361-64ef-4ed2-afd4-a7b21638fb08" providerId="ADAL" clId="{39C6D7B0-8EA4-470E-AECA-58056EC694C7}" dt="2025-03-05T12:42:24.944" v="45" actId="164"/>
          <ac:spMkLst>
            <pc:docMk/>
            <pc:sldMk cId="49438611" sldId="2147483597"/>
            <ac:spMk id="28" creationId="{81D0F2FA-A72B-708F-07D5-FF6A3DB05AA8}"/>
          </ac:spMkLst>
        </pc:spChg>
        <pc:spChg chg="mod">
          <ac:chgData name="Navya Singh" userId="cd673361-64ef-4ed2-afd4-a7b21638fb08" providerId="ADAL" clId="{39C6D7B0-8EA4-470E-AECA-58056EC694C7}" dt="2025-03-05T12:42:05.052" v="32" actId="1038"/>
          <ac:spMkLst>
            <pc:docMk/>
            <pc:sldMk cId="49438611" sldId="2147483597"/>
            <ac:spMk id="43" creationId="{5FF19312-9C85-29D1-2575-71FAF5DCC182}"/>
          </ac:spMkLst>
        </pc:spChg>
        <pc:spChg chg="mod topLvl">
          <ac:chgData name="Navya Singh" userId="cd673361-64ef-4ed2-afd4-a7b21638fb08" providerId="ADAL" clId="{39C6D7B0-8EA4-470E-AECA-58056EC694C7}" dt="2025-03-05T12:42:24.944" v="45" actId="164"/>
          <ac:spMkLst>
            <pc:docMk/>
            <pc:sldMk cId="49438611" sldId="2147483597"/>
            <ac:spMk id="44" creationId="{D6D5347D-2BD0-F419-08FB-ECCFAE8A2DA5}"/>
          </ac:spMkLst>
        </pc:spChg>
        <pc:spChg chg="mod">
          <ac:chgData name="Navya Singh" userId="cd673361-64ef-4ed2-afd4-a7b21638fb08" providerId="ADAL" clId="{39C6D7B0-8EA4-470E-AECA-58056EC694C7}" dt="2025-03-05T12:42:11.322" v="42" actId="1037"/>
          <ac:spMkLst>
            <pc:docMk/>
            <pc:sldMk cId="49438611" sldId="2147483597"/>
            <ac:spMk id="45" creationId="{E42F497D-50D8-335E-73D0-00E76CD0C133}"/>
          </ac:spMkLst>
        </pc:spChg>
        <pc:spChg chg="mod">
          <ac:chgData name="Navya Singh" userId="cd673361-64ef-4ed2-afd4-a7b21638fb08" providerId="ADAL" clId="{39C6D7B0-8EA4-470E-AECA-58056EC694C7}" dt="2025-03-05T12:42:11.322" v="42" actId="1037"/>
          <ac:spMkLst>
            <pc:docMk/>
            <pc:sldMk cId="49438611" sldId="2147483597"/>
            <ac:spMk id="46" creationId="{957AF911-5966-4A0B-8F1D-2B881AEF0A73}"/>
          </ac:spMkLst>
        </pc:spChg>
        <pc:spChg chg="mod">
          <ac:chgData name="Navya Singh" userId="cd673361-64ef-4ed2-afd4-a7b21638fb08" providerId="ADAL" clId="{39C6D7B0-8EA4-470E-AECA-58056EC694C7}" dt="2025-03-05T12:42:11.322" v="42" actId="1037"/>
          <ac:spMkLst>
            <pc:docMk/>
            <pc:sldMk cId="49438611" sldId="2147483597"/>
            <ac:spMk id="47" creationId="{B9DB6CF5-905A-E04D-21D7-6EA7FF98CA3A}"/>
          </ac:spMkLst>
        </pc:spChg>
        <pc:spChg chg="add del mod topLvl">
          <ac:chgData name="Navya Singh" userId="cd673361-64ef-4ed2-afd4-a7b21638fb08" providerId="ADAL" clId="{39C6D7B0-8EA4-470E-AECA-58056EC694C7}" dt="2025-03-05T12:42:24.944" v="45" actId="164"/>
          <ac:spMkLst>
            <pc:docMk/>
            <pc:sldMk cId="49438611" sldId="2147483597"/>
            <ac:spMk id="48" creationId="{78BF1D87-B3E2-A61E-C935-8AE93FE47346}"/>
          </ac:spMkLst>
        </pc:spChg>
        <pc:spChg chg="mod">
          <ac:chgData name="Navya Singh" userId="cd673361-64ef-4ed2-afd4-a7b21638fb08" providerId="ADAL" clId="{39C6D7B0-8EA4-470E-AECA-58056EC694C7}" dt="2025-03-05T12:42:05.052" v="32" actId="1038"/>
          <ac:spMkLst>
            <pc:docMk/>
            <pc:sldMk cId="49438611" sldId="2147483597"/>
            <ac:spMk id="49" creationId="{B136BCBA-8BCE-5FBF-D2D9-2769FA013F40}"/>
          </ac:spMkLst>
        </pc:spChg>
        <pc:spChg chg="mod">
          <ac:chgData name="Navya Singh" userId="cd673361-64ef-4ed2-afd4-a7b21638fb08" providerId="ADAL" clId="{39C6D7B0-8EA4-470E-AECA-58056EC694C7}" dt="2025-03-05T12:42:05.052" v="32" actId="1038"/>
          <ac:spMkLst>
            <pc:docMk/>
            <pc:sldMk cId="49438611" sldId="2147483597"/>
            <ac:spMk id="50" creationId="{C75C0D89-C613-BE03-ED51-7EC16A65424F}"/>
          </ac:spMkLst>
        </pc:spChg>
        <pc:spChg chg="add del mod topLvl">
          <ac:chgData name="Navya Singh" userId="cd673361-64ef-4ed2-afd4-a7b21638fb08" providerId="ADAL" clId="{39C6D7B0-8EA4-470E-AECA-58056EC694C7}" dt="2025-03-05T12:40:34.795" v="15" actId="478"/>
          <ac:spMkLst>
            <pc:docMk/>
            <pc:sldMk cId="49438611" sldId="2147483597"/>
            <ac:spMk id="53" creationId="{66800D95-18A5-B7F5-0627-DE719146CE90}"/>
          </ac:spMkLst>
        </pc:spChg>
        <pc:spChg chg="mod">
          <ac:chgData name="Navya Singh" userId="cd673361-64ef-4ed2-afd4-a7b21638fb08" providerId="ADAL" clId="{39C6D7B0-8EA4-470E-AECA-58056EC694C7}" dt="2025-03-05T12:42:05.052" v="32" actId="1038"/>
          <ac:spMkLst>
            <pc:docMk/>
            <pc:sldMk cId="49438611" sldId="2147483597"/>
            <ac:spMk id="54" creationId="{FD8BC157-B661-D977-4E40-2FB805C1DC44}"/>
          </ac:spMkLst>
        </pc:spChg>
        <pc:cxnChg chg="mod">
          <ac:chgData name="Navya Singh" userId="cd673361-64ef-4ed2-afd4-a7b21638fb08" providerId="ADAL" clId="{39C6D7B0-8EA4-470E-AECA-58056EC694C7}" dt="2025-03-05T12:40:46.013" v="16" actId="465"/>
          <ac:cxnSpMkLst>
            <pc:docMk/>
            <pc:sldMk cId="49438611" sldId="2147483597"/>
            <ac:cxnSpMk id="32" creationId="{79C79F1B-B2A3-6F6B-5EEF-EBDEF7ECDCF5}"/>
          </ac:cxnSpMkLst>
        </pc:cxnChg>
        <pc:cxnChg chg="mod">
          <ac:chgData name="Navya Singh" userId="cd673361-64ef-4ed2-afd4-a7b21638fb08" providerId="ADAL" clId="{39C6D7B0-8EA4-470E-AECA-58056EC694C7}" dt="2025-03-05T12:40:46.013" v="16" actId="465"/>
          <ac:cxnSpMkLst>
            <pc:docMk/>
            <pc:sldMk cId="49438611" sldId="2147483597"/>
            <ac:cxnSpMk id="33" creationId="{92C3EAC3-FBD6-4463-0F6C-4E3E6DCB0F32}"/>
          </ac:cxnSpMkLst>
        </pc:cxnChg>
        <pc:cxnChg chg="add del">
          <ac:chgData name="Navya Singh" userId="cd673361-64ef-4ed2-afd4-a7b21638fb08" providerId="ADAL" clId="{39C6D7B0-8EA4-470E-AECA-58056EC694C7}" dt="2025-03-05T12:40:16.415" v="12" actId="478"/>
          <ac:cxnSpMkLst>
            <pc:docMk/>
            <pc:sldMk cId="49438611" sldId="2147483597"/>
            <ac:cxnSpMk id="34" creationId="{65E01852-A3A6-2568-34C4-6DF1B08C5E1F}"/>
          </ac:cxnSpMkLst>
        </pc:cxnChg>
        <pc:cxnChg chg="del">
          <ac:chgData name="Navya Singh" userId="cd673361-64ef-4ed2-afd4-a7b21638fb08" providerId="ADAL" clId="{39C6D7B0-8EA4-470E-AECA-58056EC694C7}" dt="2025-03-05T12:39:32.245" v="8" actId="478"/>
          <ac:cxnSpMkLst>
            <pc:docMk/>
            <pc:sldMk cId="49438611" sldId="2147483597"/>
            <ac:cxnSpMk id="35" creationId="{312D49CE-2A25-E16C-6EDE-91948FDD4356}"/>
          </ac:cxnSpMkLst>
        </pc:cxnChg>
        <pc:cxnChg chg="mod">
          <ac:chgData name="Navya Singh" userId="cd673361-64ef-4ed2-afd4-a7b21638fb08" providerId="ADAL" clId="{39C6D7B0-8EA4-470E-AECA-58056EC694C7}" dt="2025-03-05T12:40:46.013" v="16" actId="465"/>
          <ac:cxnSpMkLst>
            <pc:docMk/>
            <pc:sldMk cId="49438611" sldId="2147483597"/>
            <ac:cxnSpMk id="36" creationId="{55B15A2B-8009-40D0-B852-7DFAFA858DAE}"/>
          </ac:cxnSpMkLst>
        </pc:cxnChg>
        <pc:cxnChg chg="mod">
          <ac:chgData name="Navya Singh" userId="cd673361-64ef-4ed2-afd4-a7b21638fb08" providerId="ADAL" clId="{39C6D7B0-8EA4-470E-AECA-58056EC694C7}" dt="2025-03-05T12:40:46.013" v="16" actId="465"/>
          <ac:cxnSpMkLst>
            <pc:docMk/>
            <pc:sldMk cId="49438611" sldId="2147483597"/>
            <ac:cxnSpMk id="37" creationId="{13609E06-CDBF-C913-08C9-7A91BA34A089}"/>
          </ac:cxnSpMkLst>
        </pc:cxnChg>
        <pc:cxnChg chg="mod">
          <ac:chgData name="Navya Singh" userId="cd673361-64ef-4ed2-afd4-a7b21638fb08" providerId="ADAL" clId="{39C6D7B0-8EA4-470E-AECA-58056EC694C7}" dt="2025-03-05T12:40:46.013" v="16" actId="465"/>
          <ac:cxnSpMkLst>
            <pc:docMk/>
            <pc:sldMk cId="49438611" sldId="2147483597"/>
            <ac:cxnSpMk id="38" creationId="{FF9939DA-CFAA-0BE3-4942-803CC95D1F02}"/>
          </ac:cxnSpMkLst>
        </pc:cxnChg>
        <pc:cxnChg chg="del">
          <ac:chgData name="Navya Singh" userId="cd673361-64ef-4ed2-afd4-a7b21638fb08" providerId="ADAL" clId="{39C6D7B0-8EA4-470E-AECA-58056EC694C7}" dt="2025-03-05T12:39:27.702" v="7" actId="478"/>
          <ac:cxnSpMkLst>
            <pc:docMk/>
            <pc:sldMk cId="49438611" sldId="2147483597"/>
            <ac:cxnSpMk id="39" creationId="{EE7A3697-0BB3-EA1F-047F-66CAD38C4F9F}"/>
          </ac:cxnSpMkLst>
        </pc:cxnChg>
        <pc:cxnChg chg="mod">
          <ac:chgData name="Navya Singh" userId="cd673361-64ef-4ed2-afd4-a7b21638fb08" providerId="ADAL" clId="{39C6D7B0-8EA4-470E-AECA-58056EC694C7}" dt="2025-03-05T12:40:46.013" v="16" actId="465"/>
          <ac:cxnSpMkLst>
            <pc:docMk/>
            <pc:sldMk cId="49438611" sldId="2147483597"/>
            <ac:cxnSpMk id="40" creationId="{EA8D0AE4-3573-1217-AC2E-A9A9145CBE51}"/>
          </ac:cxnSpMkLst>
        </pc:cxnChg>
        <pc:cxnChg chg="mod">
          <ac:chgData name="Navya Singh" userId="cd673361-64ef-4ed2-afd4-a7b21638fb08" providerId="ADAL" clId="{39C6D7B0-8EA4-470E-AECA-58056EC694C7}" dt="2025-03-05T12:40:46.013" v="16" actId="465"/>
          <ac:cxnSpMkLst>
            <pc:docMk/>
            <pc:sldMk cId="49438611" sldId="2147483597"/>
            <ac:cxnSpMk id="41" creationId="{FCAAC791-CE29-43EC-887E-A19E506B199B}"/>
          </ac:cxnSpMkLst>
        </pc:cxnChg>
      </pc:sldChg>
      <pc:sldChg chg="addSp delSp modSp mod">
        <pc:chgData name="Navya Singh" userId="cd673361-64ef-4ed2-afd4-a7b21638fb08" providerId="ADAL" clId="{39C6D7B0-8EA4-470E-AECA-58056EC694C7}" dt="2025-03-05T13:04:31.269" v="1235" actId="1038"/>
        <pc:sldMkLst>
          <pc:docMk/>
          <pc:sldMk cId="1039774158" sldId="2147483600"/>
        </pc:sldMkLst>
        <pc:spChg chg="add del">
          <ac:chgData name="Navya Singh" userId="cd673361-64ef-4ed2-afd4-a7b21638fb08" providerId="ADAL" clId="{39C6D7B0-8EA4-470E-AECA-58056EC694C7}" dt="2025-03-05T12:43:02.637" v="50" actId="478"/>
          <ac:spMkLst>
            <pc:docMk/>
            <pc:sldMk cId="1039774158" sldId="2147483600"/>
            <ac:spMk id="3" creationId="{4499453D-1E98-59BA-59E8-AD255D29DCCF}"/>
          </ac:spMkLst>
        </pc:spChg>
        <pc:spChg chg="add del">
          <ac:chgData name="Navya Singh" userId="cd673361-64ef-4ed2-afd4-a7b21638fb08" providerId="ADAL" clId="{39C6D7B0-8EA4-470E-AECA-58056EC694C7}" dt="2025-03-05T12:43:02.637" v="50" actId="478"/>
          <ac:spMkLst>
            <pc:docMk/>
            <pc:sldMk cId="1039774158" sldId="2147483600"/>
            <ac:spMk id="8" creationId="{2AFDBAB8-F502-BB79-91BA-C9D4B953E2AE}"/>
          </ac:spMkLst>
        </pc:spChg>
        <pc:spChg chg="del mod">
          <ac:chgData name="Navya Singh" userId="cd673361-64ef-4ed2-afd4-a7b21638fb08" providerId="ADAL" clId="{39C6D7B0-8EA4-470E-AECA-58056EC694C7}" dt="2025-03-05T12:58:27.861" v="944" actId="478"/>
          <ac:spMkLst>
            <pc:docMk/>
            <pc:sldMk cId="1039774158" sldId="2147483600"/>
            <ac:spMk id="9" creationId="{9545E78A-CBDF-5890-3604-96352456C101}"/>
          </ac:spMkLst>
        </pc:spChg>
        <pc:spChg chg="mod">
          <ac:chgData name="Navya Singh" userId="cd673361-64ef-4ed2-afd4-a7b21638fb08" providerId="ADAL" clId="{39C6D7B0-8EA4-470E-AECA-58056EC694C7}" dt="2025-03-05T12:51:44.904" v="571" actId="1076"/>
          <ac:spMkLst>
            <pc:docMk/>
            <pc:sldMk cId="1039774158" sldId="2147483600"/>
            <ac:spMk id="11" creationId="{289B1A7E-4A23-DA0D-A419-3B5FAF628081}"/>
          </ac:spMkLst>
        </pc:spChg>
        <pc:spChg chg="del">
          <ac:chgData name="Navya Singh" userId="cd673361-64ef-4ed2-afd4-a7b21638fb08" providerId="ADAL" clId="{39C6D7B0-8EA4-470E-AECA-58056EC694C7}" dt="2025-03-05T12:43:02.637" v="50" actId="478"/>
          <ac:spMkLst>
            <pc:docMk/>
            <pc:sldMk cId="1039774158" sldId="2147483600"/>
            <ac:spMk id="12" creationId="{C349A69C-D3AB-42E7-402F-252A4F8B6A30}"/>
          </ac:spMkLst>
        </pc:spChg>
        <pc:spChg chg="add del">
          <ac:chgData name="Navya Singh" userId="cd673361-64ef-4ed2-afd4-a7b21638fb08" providerId="ADAL" clId="{39C6D7B0-8EA4-470E-AECA-58056EC694C7}" dt="2025-03-05T12:43:02.637" v="50" actId="478"/>
          <ac:spMkLst>
            <pc:docMk/>
            <pc:sldMk cId="1039774158" sldId="2147483600"/>
            <ac:spMk id="13" creationId="{BB8F5474-C4B0-D266-1269-22D7074B57F7}"/>
          </ac:spMkLst>
        </pc:spChg>
        <pc:spChg chg="add">
          <ac:chgData name="Navya Singh" userId="cd673361-64ef-4ed2-afd4-a7b21638fb08" providerId="ADAL" clId="{39C6D7B0-8EA4-470E-AECA-58056EC694C7}" dt="2025-03-05T12:43:01.725" v="49" actId="478"/>
          <ac:spMkLst>
            <pc:docMk/>
            <pc:sldMk cId="1039774158" sldId="2147483600"/>
            <ac:spMk id="14" creationId="{16F49A6E-BD44-5B06-5926-2C51BD38438E}"/>
          </ac:spMkLst>
        </pc:spChg>
        <pc:spChg chg="add del">
          <ac:chgData name="Navya Singh" userId="cd673361-64ef-4ed2-afd4-a7b21638fb08" providerId="ADAL" clId="{39C6D7B0-8EA4-470E-AECA-58056EC694C7}" dt="2025-03-05T12:43:02.637" v="50" actId="478"/>
          <ac:spMkLst>
            <pc:docMk/>
            <pc:sldMk cId="1039774158" sldId="2147483600"/>
            <ac:spMk id="15" creationId="{B6FCE887-03D2-2DA9-8FCC-4B3D11CAC417}"/>
          </ac:spMkLst>
        </pc:spChg>
        <pc:spChg chg="mod">
          <ac:chgData name="Navya Singh" userId="cd673361-64ef-4ed2-afd4-a7b21638fb08" providerId="ADAL" clId="{39C6D7B0-8EA4-470E-AECA-58056EC694C7}" dt="2025-03-05T12:51:09.588" v="490" actId="242"/>
          <ac:spMkLst>
            <pc:docMk/>
            <pc:sldMk cId="1039774158" sldId="2147483600"/>
            <ac:spMk id="19" creationId="{0195D339-93FE-0E7C-D050-F802246D1A48}"/>
          </ac:spMkLst>
        </pc:spChg>
        <pc:spChg chg="add del">
          <ac:chgData name="Navya Singh" userId="cd673361-64ef-4ed2-afd4-a7b21638fb08" providerId="ADAL" clId="{39C6D7B0-8EA4-470E-AECA-58056EC694C7}" dt="2025-03-05T12:43:02.637" v="50" actId="478"/>
          <ac:spMkLst>
            <pc:docMk/>
            <pc:sldMk cId="1039774158" sldId="2147483600"/>
            <ac:spMk id="20" creationId="{ECE16757-81CC-BE5B-591A-7B8A23101EF9}"/>
          </ac:spMkLst>
        </pc:spChg>
        <pc:spChg chg="mod">
          <ac:chgData name="Navya Singh" userId="cd673361-64ef-4ed2-afd4-a7b21638fb08" providerId="ADAL" clId="{39C6D7B0-8EA4-470E-AECA-58056EC694C7}" dt="2025-03-05T12:59:43.472" v="1026" actId="1038"/>
          <ac:spMkLst>
            <pc:docMk/>
            <pc:sldMk cId="1039774158" sldId="2147483600"/>
            <ac:spMk id="22" creationId="{907A2C92-65CA-BA27-36CC-2A9A5E87BBBE}"/>
          </ac:spMkLst>
        </pc:spChg>
        <pc:spChg chg="mod">
          <ac:chgData name="Navya Singh" userId="cd673361-64ef-4ed2-afd4-a7b21638fb08" providerId="ADAL" clId="{39C6D7B0-8EA4-470E-AECA-58056EC694C7}" dt="2025-03-05T12:51:09.588" v="490" actId="242"/>
          <ac:spMkLst>
            <pc:docMk/>
            <pc:sldMk cId="1039774158" sldId="2147483600"/>
            <ac:spMk id="23" creationId="{892367EF-CB74-6DE8-05FF-60C4B654B484}"/>
          </ac:spMkLst>
        </pc:spChg>
        <pc:spChg chg="mod">
          <ac:chgData name="Navya Singh" userId="cd673361-64ef-4ed2-afd4-a7b21638fb08" providerId="ADAL" clId="{39C6D7B0-8EA4-470E-AECA-58056EC694C7}" dt="2025-03-05T12:51:09.588" v="490" actId="242"/>
          <ac:spMkLst>
            <pc:docMk/>
            <pc:sldMk cId="1039774158" sldId="2147483600"/>
            <ac:spMk id="24" creationId="{1004676C-D8DB-9E64-148D-06FD29866E44}"/>
          </ac:spMkLst>
        </pc:spChg>
        <pc:spChg chg="mod">
          <ac:chgData name="Navya Singh" userId="cd673361-64ef-4ed2-afd4-a7b21638fb08" providerId="ADAL" clId="{39C6D7B0-8EA4-470E-AECA-58056EC694C7}" dt="2025-03-05T12:51:09.588" v="490" actId="242"/>
          <ac:spMkLst>
            <pc:docMk/>
            <pc:sldMk cId="1039774158" sldId="2147483600"/>
            <ac:spMk id="25" creationId="{FE46E91F-3CBA-E9F9-0726-CCB2695DDC3C}"/>
          </ac:spMkLst>
        </pc:spChg>
        <pc:spChg chg="mod">
          <ac:chgData name="Navya Singh" userId="cd673361-64ef-4ed2-afd4-a7b21638fb08" providerId="ADAL" clId="{39C6D7B0-8EA4-470E-AECA-58056EC694C7}" dt="2025-03-05T12:51:09.588" v="490" actId="242"/>
          <ac:spMkLst>
            <pc:docMk/>
            <pc:sldMk cId="1039774158" sldId="2147483600"/>
            <ac:spMk id="26" creationId="{FF414A99-AEA2-8114-CA28-3940FC05489E}"/>
          </ac:spMkLst>
        </pc:spChg>
        <pc:spChg chg="mod">
          <ac:chgData name="Navya Singh" userId="cd673361-64ef-4ed2-afd4-a7b21638fb08" providerId="ADAL" clId="{39C6D7B0-8EA4-470E-AECA-58056EC694C7}" dt="2025-03-05T12:51:09.588" v="490" actId="242"/>
          <ac:spMkLst>
            <pc:docMk/>
            <pc:sldMk cId="1039774158" sldId="2147483600"/>
            <ac:spMk id="27" creationId="{688FFE22-65BB-F999-6FB0-EB1146E682AD}"/>
          </ac:spMkLst>
        </pc:spChg>
        <pc:spChg chg="mod">
          <ac:chgData name="Navya Singh" userId="cd673361-64ef-4ed2-afd4-a7b21638fb08" providerId="ADAL" clId="{39C6D7B0-8EA4-470E-AECA-58056EC694C7}" dt="2025-03-05T12:51:09.588" v="490" actId="242"/>
          <ac:spMkLst>
            <pc:docMk/>
            <pc:sldMk cId="1039774158" sldId="2147483600"/>
            <ac:spMk id="28" creationId="{2A8BC35A-B9BE-9067-40FA-92ED3DD5D624}"/>
          </ac:spMkLst>
        </pc:spChg>
        <pc:spChg chg="mod">
          <ac:chgData name="Navya Singh" userId="cd673361-64ef-4ed2-afd4-a7b21638fb08" providerId="ADAL" clId="{39C6D7B0-8EA4-470E-AECA-58056EC694C7}" dt="2025-03-05T12:51:09.588" v="490" actId="242"/>
          <ac:spMkLst>
            <pc:docMk/>
            <pc:sldMk cId="1039774158" sldId="2147483600"/>
            <ac:spMk id="29" creationId="{0F090CCE-A7C3-6B37-8E72-C7201C61FD0D}"/>
          </ac:spMkLst>
        </pc:spChg>
        <pc:spChg chg="mod">
          <ac:chgData name="Navya Singh" userId="cd673361-64ef-4ed2-afd4-a7b21638fb08" providerId="ADAL" clId="{39C6D7B0-8EA4-470E-AECA-58056EC694C7}" dt="2025-03-05T12:51:09.588" v="490" actId="242"/>
          <ac:spMkLst>
            <pc:docMk/>
            <pc:sldMk cId="1039774158" sldId="2147483600"/>
            <ac:spMk id="30" creationId="{47A6F456-61E4-BA7C-48DE-A628AD51A745}"/>
          </ac:spMkLst>
        </pc:spChg>
        <pc:spChg chg="mod">
          <ac:chgData name="Navya Singh" userId="cd673361-64ef-4ed2-afd4-a7b21638fb08" providerId="ADAL" clId="{39C6D7B0-8EA4-470E-AECA-58056EC694C7}" dt="2025-03-05T12:43:11.713" v="52"/>
          <ac:spMkLst>
            <pc:docMk/>
            <pc:sldMk cId="1039774158" sldId="2147483600"/>
            <ac:spMk id="32" creationId="{071415FA-3CD5-1898-F106-0778666CBA67}"/>
          </ac:spMkLst>
        </pc:spChg>
        <pc:spChg chg="mod">
          <ac:chgData name="Navya Singh" userId="cd673361-64ef-4ed2-afd4-a7b21638fb08" providerId="ADAL" clId="{39C6D7B0-8EA4-470E-AECA-58056EC694C7}" dt="2025-03-05T12:43:11.713" v="52"/>
          <ac:spMkLst>
            <pc:docMk/>
            <pc:sldMk cId="1039774158" sldId="2147483600"/>
            <ac:spMk id="34" creationId="{478AD76F-2A30-0B4E-10F5-3964431E1532}"/>
          </ac:spMkLst>
        </pc:spChg>
        <pc:spChg chg="mod">
          <ac:chgData name="Navya Singh" userId="cd673361-64ef-4ed2-afd4-a7b21638fb08" providerId="ADAL" clId="{39C6D7B0-8EA4-470E-AECA-58056EC694C7}" dt="2025-03-05T12:43:11.713" v="52"/>
          <ac:spMkLst>
            <pc:docMk/>
            <pc:sldMk cId="1039774158" sldId="2147483600"/>
            <ac:spMk id="35" creationId="{58B5260D-47B6-FF1C-E730-D57CC50A7D48}"/>
          </ac:spMkLst>
        </pc:spChg>
        <pc:spChg chg="mod">
          <ac:chgData name="Navya Singh" userId="cd673361-64ef-4ed2-afd4-a7b21638fb08" providerId="ADAL" clId="{39C6D7B0-8EA4-470E-AECA-58056EC694C7}" dt="2025-03-05T12:43:11.713" v="52"/>
          <ac:spMkLst>
            <pc:docMk/>
            <pc:sldMk cId="1039774158" sldId="2147483600"/>
            <ac:spMk id="38" creationId="{2BDA88A7-2A95-6A91-F14D-1581B7F6697D}"/>
          </ac:spMkLst>
        </pc:spChg>
        <pc:spChg chg="mod">
          <ac:chgData name="Navya Singh" userId="cd673361-64ef-4ed2-afd4-a7b21638fb08" providerId="ADAL" clId="{39C6D7B0-8EA4-470E-AECA-58056EC694C7}" dt="2025-03-05T12:43:11.713" v="52"/>
          <ac:spMkLst>
            <pc:docMk/>
            <pc:sldMk cId="1039774158" sldId="2147483600"/>
            <ac:spMk id="40" creationId="{991B2A93-A9A2-495A-AF63-E56D367F9F31}"/>
          </ac:spMkLst>
        </pc:spChg>
        <pc:spChg chg="mod">
          <ac:chgData name="Navya Singh" userId="cd673361-64ef-4ed2-afd4-a7b21638fb08" providerId="ADAL" clId="{39C6D7B0-8EA4-470E-AECA-58056EC694C7}" dt="2025-03-05T12:59:40.203" v="1023" actId="1037"/>
          <ac:spMkLst>
            <pc:docMk/>
            <pc:sldMk cId="1039774158" sldId="2147483600"/>
            <ac:spMk id="52" creationId="{0DFE3E40-C142-10A4-67DA-395EC4EB80F5}"/>
          </ac:spMkLst>
        </pc:spChg>
        <pc:spChg chg="mod">
          <ac:chgData name="Navya Singh" userId="cd673361-64ef-4ed2-afd4-a7b21638fb08" providerId="ADAL" clId="{39C6D7B0-8EA4-470E-AECA-58056EC694C7}" dt="2025-03-05T12:43:11.713" v="52"/>
          <ac:spMkLst>
            <pc:docMk/>
            <pc:sldMk cId="1039774158" sldId="2147483600"/>
            <ac:spMk id="53" creationId="{2123C363-49A6-580B-95C9-EC2607C50BB0}"/>
          </ac:spMkLst>
        </pc:spChg>
        <pc:spChg chg="mod">
          <ac:chgData name="Navya Singh" userId="cd673361-64ef-4ed2-afd4-a7b21638fb08" providerId="ADAL" clId="{39C6D7B0-8EA4-470E-AECA-58056EC694C7}" dt="2025-03-05T12:43:11.713" v="52"/>
          <ac:spMkLst>
            <pc:docMk/>
            <pc:sldMk cId="1039774158" sldId="2147483600"/>
            <ac:spMk id="55" creationId="{A4F928D2-9A8D-AC9F-4278-23BE7CA946C8}"/>
          </ac:spMkLst>
        </pc:spChg>
        <pc:spChg chg="add del">
          <ac:chgData name="Navya Singh" userId="cd673361-64ef-4ed2-afd4-a7b21638fb08" providerId="ADAL" clId="{39C6D7B0-8EA4-470E-AECA-58056EC694C7}" dt="2025-03-05T12:43:02.637" v="50" actId="478"/>
          <ac:spMkLst>
            <pc:docMk/>
            <pc:sldMk cId="1039774158" sldId="2147483600"/>
            <ac:spMk id="59" creationId="{FD7277FA-9EB3-5684-68FD-064E563F0D31}"/>
          </ac:spMkLst>
        </pc:spChg>
        <pc:spChg chg="add del">
          <ac:chgData name="Navya Singh" userId="cd673361-64ef-4ed2-afd4-a7b21638fb08" providerId="ADAL" clId="{39C6D7B0-8EA4-470E-AECA-58056EC694C7}" dt="2025-03-05T12:43:02.637" v="50" actId="478"/>
          <ac:spMkLst>
            <pc:docMk/>
            <pc:sldMk cId="1039774158" sldId="2147483600"/>
            <ac:spMk id="61" creationId="{038C0EED-CEE3-3D81-24CA-3125E0C67647}"/>
          </ac:spMkLst>
        </pc:spChg>
        <pc:spChg chg="add del">
          <ac:chgData name="Navya Singh" userId="cd673361-64ef-4ed2-afd4-a7b21638fb08" providerId="ADAL" clId="{39C6D7B0-8EA4-470E-AECA-58056EC694C7}" dt="2025-03-05T12:43:02.637" v="50" actId="478"/>
          <ac:spMkLst>
            <pc:docMk/>
            <pc:sldMk cId="1039774158" sldId="2147483600"/>
            <ac:spMk id="62" creationId="{21BF6F16-1C6C-E6C1-5199-820365E764AC}"/>
          </ac:spMkLst>
        </pc:spChg>
        <pc:spChg chg="add del">
          <ac:chgData name="Navya Singh" userId="cd673361-64ef-4ed2-afd4-a7b21638fb08" providerId="ADAL" clId="{39C6D7B0-8EA4-470E-AECA-58056EC694C7}" dt="2025-03-05T12:43:02.637" v="50" actId="478"/>
          <ac:spMkLst>
            <pc:docMk/>
            <pc:sldMk cId="1039774158" sldId="2147483600"/>
            <ac:spMk id="63" creationId="{B3438E0E-B8DE-2852-E322-65F24CC7923D}"/>
          </ac:spMkLst>
        </pc:spChg>
        <pc:spChg chg="add del mod">
          <ac:chgData name="Navya Singh" userId="cd673361-64ef-4ed2-afd4-a7b21638fb08" providerId="ADAL" clId="{39C6D7B0-8EA4-470E-AECA-58056EC694C7}" dt="2025-03-05T12:58:27.861" v="944" actId="478"/>
          <ac:spMkLst>
            <pc:docMk/>
            <pc:sldMk cId="1039774158" sldId="2147483600"/>
            <ac:spMk id="67" creationId="{7BDBB332-F225-0864-BE8B-24DC9730D480}"/>
          </ac:spMkLst>
        </pc:spChg>
        <pc:spChg chg="add del mod">
          <ac:chgData name="Navya Singh" userId="cd673361-64ef-4ed2-afd4-a7b21638fb08" providerId="ADAL" clId="{39C6D7B0-8EA4-470E-AECA-58056EC694C7}" dt="2025-03-05T12:58:27.861" v="944" actId="478"/>
          <ac:spMkLst>
            <pc:docMk/>
            <pc:sldMk cId="1039774158" sldId="2147483600"/>
            <ac:spMk id="68" creationId="{572AA06E-D99A-C49A-49E6-A150946E4234}"/>
          </ac:spMkLst>
        </pc:spChg>
        <pc:spChg chg="del mod">
          <ac:chgData name="Navya Singh" userId="cd673361-64ef-4ed2-afd4-a7b21638fb08" providerId="ADAL" clId="{39C6D7B0-8EA4-470E-AECA-58056EC694C7}" dt="2025-03-05T12:58:27.861" v="944" actId="478"/>
          <ac:spMkLst>
            <pc:docMk/>
            <pc:sldMk cId="1039774158" sldId="2147483600"/>
            <ac:spMk id="69" creationId="{DFD9C91A-42A4-61A8-7DD9-70DF1553F390}"/>
          </ac:spMkLst>
        </pc:spChg>
        <pc:spChg chg="add del mod">
          <ac:chgData name="Navya Singh" userId="cd673361-64ef-4ed2-afd4-a7b21638fb08" providerId="ADAL" clId="{39C6D7B0-8EA4-470E-AECA-58056EC694C7}" dt="2025-03-05T12:58:27.861" v="944" actId="478"/>
          <ac:spMkLst>
            <pc:docMk/>
            <pc:sldMk cId="1039774158" sldId="2147483600"/>
            <ac:spMk id="71" creationId="{3EFEAC21-CAEF-B748-0666-77455C2D2E83}"/>
          </ac:spMkLst>
        </pc:spChg>
        <pc:spChg chg="del mod">
          <ac:chgData name="Navya Singh" userId="cd673361-64ef-4ed2-afd4-a7b21638fb08" providerId="ADAL" clId="{39C6D7B0-8EA4-470E-AECA-58056EC694C7}" dt="2025-03-05T12:58:27.861" v="944" actId="478"/>
          <ac:spMkLst>
            <pc:docMk/>
            <pc:sldMk cId="1039774158" sldId="2147483600"/>
            <ac:spMk id="72" creationId="{C2900F78-DB53-6641-ACC3-3091DDAF957A}"/>
          </ac:spMkLst>
        </pc:spChg>
        <pc:spChg chg="add del mod">
          <ac:chgData name="Navya Singh" userId="cd673361-64ef-4ed2-afd4-a7b21638fb08" providerId="ADAL" clId="{39C6D7B0-8EA4-470E-AECA-58056EC694C7}" dt="2025-03-05T12:58:27.861" v="944" actId="478"/>
          <ac:spMkLst>
            <pc:docMk/>
            <pc:sldMk cId="1039774158" sldId="2147483600"/>
            <ac:spMk id="73" creationId="{6780EB22-3ECB-DF31-9A40-3147E5E21F7B}"/>
          </ac:spMkLst>
        </pc:spChg>
        <pc:spChg chg="add del mod">
          <ac:chgData name="Navya Singh" userId="cd673361-64ef-4ed2-afd4-a7b21638fb08" providerId="ADAL" clId="{39C6D7B0-8EA4-470E-AECA-58056EC694C7}" dt="2025-03-05T12:58:27.861" v="944" actId="478"/>
          <ac:spMkLst>
            <pc:docMk/>
            <pc:sldMk cId="1039774158" sldId="2147483600"/>
            <ac:spMk id="74" creationId="{3BB97C88-0DF1-680C-D6CD-02B9E4439BB8}"/>
          </ac:spMkLst>
        </pc:spChg>
        <pc:spChg chg="add del mod">
          <ac:chgData name="Navya Singh" userId="cd673361-64ef-4ed2-afd4-a7b21638fb08" providerId="ADAL" clId="{39C6D7B0-8EA4-470E-AECA-58056EC694C7}" dt="2025-03-05T12:58:27.861" v="944" actId="478"/>
          <ac:spMkLst>
            <pc:docMk/>
            <pc:sldMk cId="1039774158" sldId="2147483600"/>
            <ac:spMk id="75" creationId="{03C6261C-DDA5-B2CC-4BB0-64D484802511}"/>
          </ac:spMkLst>
        </pc:spChg>
        <pc:spChg chg="del mod">
          <ac:chgData name="Navya Singh" userId="cd673361-64ef-4ed2-afd4-a7b21638fb08" providerId="ADAL" clId="{39C6D7B0-8EA4-470E-AECA-58056EC694C7}" dt="2025-03-05T12:58:27.861" v="944" actId="478"/>
          <ac:spMkLst>
            <pc:docMk/>
            <pc:sldMk cId="1039774158" sldId="2147483600"/>
            <ac:spMk id="76" creationId="{36FC9A4A-99FA-E887-7702-D2C99E989CAA}"/>
          </ac:spMkLst>
        </pc:spChg>
        <pc:spChg chg="mod">
          <ac:chgData name="Navya Singh" userId="cd673361-64ef-4ed2-afd4-a7b21638fb08" providerId="ADAL" clId="{39C6D7B0-8EA4-470E-AECA-58056EC694C7}" dt="2025-03-05T12:56:24.915" v="809" actId="554"/>
          <ac:spMkLst>
            <pc:docMk/>
            <pc:sldMk cId="1039774158" sldId="2147483600"/>
            <ac:spMk id="77" creationId="{ED941E5A-7306-5133-E7EE-6EEC352A7D80}"/>
          </ac:spMkLst>
        </pc:spChg>
        <pc:spChg chg="mod">
          <ac:chgData name="Navya Singh" userId="cd673361-64ef-4ed2-afd4-a7b21638fb08" providerId="ADAL" clId="{39C6D7B0-8EA4-470E-AECA-58056EC694C7}" dt="2025-03-05T12:55:08.079" v="801" actId="14100"/>
          <ac:spMkLst>
            <pc:docMk/>
            <pc:sldMk cId="1039774158" sldId="2147483600"/>
            <ac:spMk id="78" creationId="{2A1DA313-5554-3709-C96A-7651B79AE362}"/>
          </ac:spMkLst>
        </pc:spChg>
        <pc:spChg chg="mod">
          <ac:chgData name="Navya Singh" userId="cd673361-64ef-4ed2-afd4-a7b21638fb08" providerId="ADAL" clId="{39C6D7B0-8EA4-470E-AECA-58056EC694C7}" dt="2025-03-05T12:56:06.190" v="807" actId="14100"/>
          <ac:spMkLst>
            <pc:docMk/>
            <pc:sldMk cId="1039774158" sldId="2147483600"/>
            <ac:spMk id="79" creationId="{7315A212-CF97-10C9-009D-EB837A66094F}"/>
          </ac:spMkLst>
        </pc:spChg>
        <pc:spChg chg="add mod">
          <ac:chgData name="Navya Singh" userId="cd673361-64ef-4ed2-afd4-a7b21638fb08" providerId="ADAL" clId="{39C6D7B0-8EA4-470E-AECA-58056EC694C7}" dt="2025-03-05T12:57:00.177" v="831" actId="3064"/>
          <ac:spMkLst>
            <pc:docMk/>
            <pc:sldMk cId="1039774158" sldId="2147483600"/>
            <ac:spMk id="80" creationId="{15D6FADD-3F7F-D8B4-6AE7-40C3BADA4E4D}"/>
          </ac:spMkLst>
        </pc:spChg>
        <pc:spChg chg="mod">
          <ac:chgData name="Navya Singh" userId="cd673361-64ef-4ed2-afd4-a7b21638fb08" providerId="ADAL" clId="{39C6D7B0-8EA4-470E-AECA-58056EC694C7}" dt="2025-03-05T12:53:48.230" v="772" actId="255"/>
          <ac:spMkLst>
            <pc:docMk/>
            <pc:sldMk cId="1039774158" sldId="2147483600"/>
            <ac:spMk id="81" creationId="{0D6D333A-A001-8183-2F81-51CF5F4E082F}"/>
          </ac:spMkLst>
        </pc:spChg>
        <pc:spChg chg="mod">
          <ac:chgData name="Navya Singh" userId="cd673361-64ef-4ed2-afd4-a7b21638fb08" providerId="ADAL" clId="{39C6D7B0-8EA4-470E-AECA-58056EC694C7}" dt="2025-03-05T12:53:48.230" v="772" actId="255"/>
          <ac:spMkLst>
            <pc:docMk/>
            <pc:sldMk cId="1039774158" sldId="2147483600"/>
            <ac:spMk id="82" creationId="{E4602DDF-BD65-C09D-B1A2-D1E7D8423C36}"/>
          </ac:spMkLst>
        </pc:spChg>
        <pc:spChg chg="add mod">
          <ac:chgData name="Navya Singh" userId="cd673361-64ef-4ed2-afd4-a7b21638fb08" providerId="ADAL" clId="{39C6D7B0-8EA4-470E-AECA-58056EC694C7}" dt="2025-03-05T12:57:00.177" v="831" actId="3064"/>
          <ac:spMkLst>
            <pc:docMk/>
            <pc:sldMk cId="1039774158" sldId="2147483600"/>
            <ac:spMk id="83" creationId="{B74F979F-BC93-B612-25F0-603E8ECB0DC8}"/>
          </ac:spMkLst>
        </pc:spChg>
        <pc:spChg chg="add mod">
          <ac:chgData name="Navya Singh" userId="cd673361-64ef-4ed2-afd4-a7b21638fb08" providerId="ADAL" clId="{39C6D7B0-8EA4-470E-AECA-58056EC694C7}" dt="2025-03-05T12:57:00.177" v="831" actId="3064"/>
          <ac:spMkLst>
            <pc:docMk/>
            <pc:sldMk cId="1039774158" sldId="2147483600"/>
            <ac:spMk id="84" creationId="{2F4D4219-4297-E9FC-BF85-4DC6C1AED56D}"/>
          </ac:spMkLst>
        </pc:spChg>
        <pc:spChg chg="add mod">
          <ac:chgData name="Navya Singh" userId="cd673361-64ef-4ed2-afd4-a7b21638fb08" providerId="ADAL" clId="{39C6D7B0-8EA4-470E-AECA-58056EC694C7}" dt="2025-03-05T12:57:00.177" v="831" actId="3064"/>
          <ac:spMkLst>
            <pc:docMk/>
            <pc:sldMk cId="1039774158" sldId="2147483600"/>
            <ac:spMk id="85" creationId="{40389695-47F5-CE3F-3EE7-0B9EBE84C1F6}"/>
          </ac:spMkLst>
        </pc:spChg>
        <pc:spChg chg="add mod">
          <ac:chgData name="Navya Singh" userId="cd673361-64ef-4ed2-afd4-a7b21638fb08" providerId="ADAL" clId="{39C6D7B0-8EA4-470E-AECA-58056EC694C7}" dt="2025-03-05T13:02:51.190" v="1090" actId="14100"/>
          <ac:spMkLst>
            <pc:docMk/>
            <pc:sldMk cId="1039774158" sldId="2147483600"/>
            <ac:spMk id="89" creationId="{B1165A64-1767-6482-9956-73F5B9594623}"/>
          </ac:spMkLst>
        </pc:spChg>
        <pc:spChg chg="add mod">
          <ac:chgData name="Navya Singh" userId="cd673361-64ef-4ed2-afd4-a7b21638fb08" providerId="ADAL" clId="{39C6D7B0-8EA4-470E-AECA-58056EC694C7}" dt="2025-03-05T13:03:09.841" v="1096" actId="1036"/>
          <ac:spMkLst>
            <pc:docMk/>
            <pc:sldMk cId="1039774158" sldId="2147483600"/>
            <ac:spMk id="90" creationId="{11DF9E47-6521-C02E-3179-ED0448DF6807}"/>
          </ac:spMkLst>
        </pc:spChg>
        <pc:spChg chg="add mod">
          <ac:chgData name="Navya Singh" userId="cd673361-64ef-4ed2-afd4-a7b21638fb08" providerId="ADAL" clId="{39C6D7B0-8EA4-470E-AECA-58056EC694C7}" dt="2025-03-05T13:03:09.841" v="1096" actId="1036"/>
          <ac:spMkLst>
            <pc:docMk/>
            <pc:sldMk cId="1039774158" sldId="2147483600"/>
            <ac:spMk id="91" creationId="{70C31495-16B1-16FC-0C40-55E423CC5CCB}"/>
          </ac:spMkLst>
        </pc:spChg>
        <pc:spChg chg="add mod">
          <ac:chgData name="Navya Singh" userId="cd673361-64ef-4ed2-afd4-a7b21638fb08" providerId="ADAL" clId="{39C6D7B0-8EA4-470E-AECA-58056EC694C7}" dt="2025-03-05T13:03:09.841" v="1096" actId="1036"/>
          <ac:spMkLst>
            <pc:docMk/>
            <pc:sldMk cId="1039774158" sldId="2147483600"/>
            <ac:spMk id="92" creationId="{943BC27A-0292-FE72-E96A-648C83CBB89B}"/>
          </ac:spMkLst>
        </pc:spChg>
        <pc:spChg chg="add mod">
          <ac:chgData name="Navya Singh" userId="cd673361-64ef-4ed2-afd4-a7b21638fb08" providerId="ADAL" clId="{39C6D7B0-8EA4-470E-AECA-58056EC694C7}" dt="2025-03-05T13:03:09.841" v="1096" actId="1036"/>
          <ac:spMkLst>
            <pc:docMk/>
            <pc:sldMk cId="1039774158" sldId="2147483600"/>
            <ac:spMk id="93" creationId="{60954526-B719-C37B-F299-CAB92885CBBC}"/>
          </ac:spMkLst>
        </pc:spChg>
        <pc:spChg chg="add mod">
          <ac:chgData name="Navya Singh" userId="cd673361-64ef-4ed2-afd4-a7b21638fb08" providerId="ADAL" clId="{39C6D7B0-8EA4-470E-AECA-58056EC694C7}" dt="2025-03-05T13:03:05.563" v="1095" actId="1036"/>
          <ac:spMkLst>
            <pc:docMk/>
            <pc:sldMk cId="1039774158" sldId="2147483600"/>
            <ac:spMk id="94" creationId="{4D84C055-F1C8-5AD5-DB74-6561D42F00B3}"/>
          </ac:spMkLst>
        </pc:spChg>
        <pc:spChg chg="add mod">
          <ac:chgData name="Navya Singh" userId="cd673361-64ef-4ed2-afd4-a7b21638fb08" providerId="ADAL" clId="{39C6D7B0-8EA4-470E-AECA-58056EC694C7}" dt="2025-03-05T13:03:04.051" v="1094" actId="1036"/>
          <ac:spMkLst>
            <pc:docMk/>
            <pc:sldMk cId="1039774158" sldId="2147483600"/>
            <ac:spMk id="95" creationId="{89390530-0AF2-C238-DDC6-4668C5DDB75C}"/>
          </ac:spMkLst>
        </pc:spChg>
        <pc:spChg chg="add mod">
          <ac:chgData name="Navya Singh" userId="cd673361-64ef-4ed2-afd4-a7b21638fb08" providerId="ADAL" clId="{39C6D7B0-8EA4-470E-AECA-58056EC694C7}" dt="2025-03-05T13:03:01.427" v="1093" actId="1036"/>
          <ac:spMkLst>
            <pc:docMk/>
            <pc:sldMk cId="1039774158" sldId="2147483600"/>
            <ac:spMk id="96" creationId="{66A10542-B674-A606-29F4-7D010D489A9C}"/>
          </ac:spMkLst>
        </pc:spChg>
        <pc:spChg chg="add mod">
          <ac:chgData name="Navya Singh" userId="cd673361-64ef-4ed2-afd4-a7b21638fb08" providerId="ADAL" clId="{39C6D7B0-8EA4-470E-AECA-58056EC694C7}" dt="2025-03-05T13:03:09.841" v="1096" actId="1036"/>
          <ac:spMkLst>
            <pc:docMk/>
            <pc:sldMk cId="1039774158" sldId="2147483600"/>
            <ac:spMk id="97" creationId="{17AF50F9-145D-8364-5CF5-F4E8D3143DAE}"/>
          </ac:spMkLst>
        </pc:spChg>
        <pc:spChg chg="add mod">
          <ac:chgData name="Navya Singh" userId="cd673361-64ef-4ed2-afd4-a7b21638fb08" providerId="ADAL" clId="{39C6D7B0-8EA4-470E-AECA-58056EC694C7}" dt="2025-03-05T13:04:31.269" v="1235" actId="1038"/>
          <ac:spMkLst>
            <pc:docMk/>
            <pc:sldMk cId="1039774158" sldId="2147483600"/>
            <ac:spMk id="98" creationId="{D6A92537-E6F9-3FCE-C156-73E62102BE92}"/>
          </ac:spMkLst>
        </pc:spChg>
        <pc:spChg chg="add mod">
          <ac:chgData name="Navya Singh" userId="cd673361-64ef-4ed2-afd4-a7b21638fb08" providerId="ADAL" clId="{39C6D7B0-8EA4-470E-AECA-58056EC694C7}" dt="2025-03-05T13:04:31.269" v="1235" actId="1038"/>
          <ac:spMkLst>
            <pc:docMk/>
            <pc:sldMk cId="1039774158" sldId="2147483600"/>
            <ac:spMk id="99" creationId="{FA63ABDF-04EF-12C5-9430-ED545F040E2A}"/>
          </ac:spMkLst>
        </pc:spChg>
        <pc:spChg chg="add mod">
          <ac:chgData name="Navya Singh" userId="cd673361-64ef-4ed2-afd4-a7b21638fb08" providerId="ADAL" clId="{39C6D7B0-8EA4-470E-AECA-58056EC694C7}" dt="2025-03-05T13:04:31.269" v="1235" actId="1038"/>
          <ac:spMkLst>
            <pc:docMk/>
            <pc:sldMk cId="1039774158" sldId="2147483600"/>
            <ac:spMk id="100" creationId="{B0E707B9-A709-B608-FC91-6ABB19CFC530}"/>
          </ac:spMkLst>
        </pc:spChg>
        <pc:grpChg chg="add del">
          <ac:chgData name="Navya Singh" userId="cd673361-64ef-4ed2-afd4-a7b21638fb08" providerId="ADAL" clId="{39C6D7B0-8EA4-470E-AECA-58056EC694C7}" dt="2025-03-05T12:43:02.858" v="51" actId="478"/>
          <ac:grpSpMkLst>
            <pc:docMk/>
            <pc:sldMk cId="1039774158" sldId="2147483600"/>
            <ac:grpSpMk id="6" creationId="{08A972BC-E100-163B-469D-17DF125F03FA}"/>
          </ac:grpSpMkLst>
        </pc:grpChg>
        <pc:grpChg chg="mod">
          <ac:chgData name="Navya Singh" userId="cd673361-64ef-4ed2-afd4-a7b21638fb08" providerId="ADAL" clId="{39C6D7B0-8EA4-470E-AECA-58056EC694C7}" dt="2025-03-05T13:03:33.945" v="1111" actId="1036"/>
          <ac:grpSpMkLst>
            <pc:docMk/>
            <pc:sldMk cId="1039774158" sldId="2147483600"/>
            <ac:grpSpMk id="17" creationId="{B1361C17-2415-BC5F-15C9-36E145B41372}"/>
          </ac:grpSpMkLst>
        </pc:grpChg>
        <pc:picChg chg="add mod">
          <ac:chgData name="Navya Singh" userId="cd673361-64ef-4ed2-afd4-a7b21638fb08" providerId="ADAL" clId="{39C6D7B0-8EA4-470E-AECA-58056EC694C7}" dt="2025-03-05T13:04:31.269" v="1235" actId="1038"/>
          <ac:picMkLst>
            <pc:docMk/>
            <pc:sldMk cId="1039774158" sldId="2147483600"/>
            <ac:picMk id="102" creationId="{34380A5A-489F-AEC2-2233-A9263CF869F5}"/>
          </ac:picMkLst>
        </pc:picChg>
        <pc:cxnChg chg="mod">
          <ac:chgData name="Navya Singh" userId="cd673361-64ef-4ed2-afd4-a7b21638fb08" providerId="ADAL" clId="{39C6D7B0-8EA4-470E-AECA-58056EC694C7}" dt="2025-03-05T12:43:43.541" v="201" actId="14100"/>
          <ac:cxnSpMkLst>
            <pc:docMk/>
            <pc:sldMk cId="1039774158" sldId="2147483600"/>
            <ac:cxnSpMk id="41" creationId="{E07E17CA-CC7F-D58E-F13F-070F13ED6D9B}"/>
          </ac:cxnSpMkLst>
        </pc:cxnChg>
        <pc:cxnChg chg="mod">
          <ac:chgData name="Navya Singh" userId="cd673361-64ef-4ed2-afd4-a7b21638fb08" providerId="ADAL" clId="{39C6D7B0-8EA4-470E-AECA-58056EC694C7}" dt="2025-03-05T12:43:43.541" v="201" actId="14100"/>
          <ac:cxnSpMkLst>
            <pc:docMk/>
            <pc:sldMk cId="1039774158" sldId="2147483600"/>
            <ac:cxnSpMk id="42" creationId="{E515DEDF-04E1-2581-3CFC-531BB1138E06}"/>
          </ac:cxnSpMkLst>
        </pc:cxnChg>
        <pc:cxnChg chg="mod">
          <ac:chgData name="Navya Singh" userId="cd673361-64ef-4ed2-afd4-a7b21638fb08" providerId="ADAL" clId="{39C6D7B0-8EA4-470E-AECA-58056EC694C7}" dt="2025-03-05T12:43:43.541" v="201" actId="14100"/>
          <ac:cxnSpMkLst>
            <pc:docMk/>
            <pc:sldMk cId="1039774158" sldId="2147483600"/>
            <ac:cxnSpMk id="43" creationId="{8D911144-F631-86E1-30C2-072320B92501}"/>
          </ac:cxnSpMkLst>
        </pc:cxnChg>
        <pc:cxnChg chg="mod">
          <ac:chgData name="Navya Singh" userId="cd673361-64ef-4ed2-afd4-a7b21638fb08" providerId="ADAL" clId="{39C6D7B0-8EA4-470E-AECA-58056EC694C7}" dt="2025-03-05T12:43:43.541" v="201" actId="14100"/>
          <ac:cxnSpMkLst>
            <pc:docMk/>
            <pc:sldMk cId="1039774158" sldId="2147483600"/>
            <ac:cxnSpMk id="44" creationId="{B537056A-3C8A-B0F7-720D-BF970F60EFE4}"/>
          </ac:cxnSpMkLst>
        </pc:cxnChg>
        <pc:cxnChg chg="mod">
          <ac:chgData name="Navya Singh" userId="cd673361-64ef-4ed2-afd4-a7b21638fb08" providerId="ADAL" clId="{39C6D7B0-8EA4-470E-AECA-58056EC694C7}" dt="2025-03-05T12:43:43.541" v="201" actId="14100"/>
          <ac:cxnSpMkLst>
            <pc:docMk/>
            <pc:sldMk cId="1039774158" sldId="2147483600"/>
            <ac:cxnSpMk id="45" creationId="{61068325-1F0D-57A4-3121-EDB809A643E4}"/>
          </ac:cxnSpMkLst>
        </pc:cxnChg>
        <pc:cxnChg chg="mod">
          <ac:chgData name="Navya Singh" userId="cd673361-64ef-4ed2-afd4-a7b21638fb08" providerId="ADAL" clId="{39C6D7B0-8EA4-470E-AECA-58056EC694C7}" dt="2025-03-05T12:43:43.541" v="201" actId="14100"/>
          <ac:cxnSpMkLst>
            <pc:docMk/>
            <pc:sldMk cId="1039774158" sldId="2147483600"/>
            <ac:cxnSpMk id="46" creationId="{674E79B8-AB60-8AC0-16C3-9F056E030201}"/>
          </ac:cxnSpMkLst>
        </pc:cxnChg>
        <pc:cxnChg chg="mod">
          <ac:chgData name="Navya Singh" userId="cd673361-64ef-4ed2-afd4-a7b21638fb08" providerId="ADAL" clId="{39C6D7B0-8EA4-470E-AECA-58056EC694C7}" dt="2025-03-05T12:43:43.541" v="201" actId="14100"/>
          <ac:cxnSpMkLst>
            <pc:docMk/>
            <pc:sldMk cId="1039774158" sldId="2147483600"/>
            <ac:cxnSpMk id="47" creationId="{7309C45B-70BF-781E-E672-E70CDB8A34FB}"/>
          </ac:cxnSpMkLst>
        </pc:cxnChg>
        <pc:cxnChg chg="mod">
          <ac:chgData name="Navya Singh" userId="cd673361-64ef-4ed2-afd4-a7b21638fb08" providerId="ADAL" clId="{39C6D7B0-8EA4-470E-AECA-58056EC694C7}" dt="2025-03-05T12:43:43.541" v="201" actId="14100"/>
          <ac:cxnSpMkLst>
            <pc:docMk/>
            <pc:sldMk cId="1039774158" sldId="2147483600"/>
            <ac:cxnSpMk id="48" creationId="{A416DBA0-F40E-6A69-E6DA-F6195B7C88AF}"/>
          </ac:cxnSpMkLst>
        </pc:cxnChg>
        <pc:cxnChg chg="mod">
          <ac:chgData name="Navya Singh" userId="cd673361-64ef-4ed2-afd4-a7b21638fb08" providerId="ADAL" clId="{39C6D7B0-8EA4-470E-AECA-58056EC694C7}" dt="2025-03-05T12:43:43.541" v="201" actId="14100"/>
          <ac:cxnSpMkLst>
            <pc:docMk/>
            <pc:sldMk cId="1039774158" sldId="2147483600"/>
            <ac:cxnSpMk id="49" creationId="{A4941569-22A3-0456-A9BF-A1C5863CD0D3}"/>
          </ac:cxnSpMkLst>
        </pc:cxnChg>
        <pc:cxnChg chg="mod">
          <ac:chgData name="Navya Singh" userId="cd673361-64ef-4ed2-afd4-a7b21638fb08" providerId="ADAL" clId="{39C6D7B0-8EA4-470E-AECA-58056EC694C7}" dt="2025-03-05T12:44:16.019" v="264" actId="14100"/>
          <ac:cxnSpMkLst>
            <pc:docMk/>
            <pc:sldMk cId="1039774158" sldId="2147483600"/>
            <ac:cxnSpMk id="50" creationId="{5F5C30E9-7904-6A54-295F-1C6BE92864AA}"/>
          </ac:cxnSpMkLst>
        </pc:cxnChg>
        <pc:cxnChg chg="add mod">
          <ac:chgData name="Navya Singh" userId="cd673361-64ef-4ed2-afd4-a7b21638fb08" providerId="ADAL" clId="{39C6D7B0-8EA4-470E-AECA-58056EC694C7}" dt="2025-03-05T12:57:30.075" v="887" actId="14100"/>
          <ac:cxnSpMkLst>
            <pc:docMk/>
            <pc:sldMk cId="1039774158" sldId="2147483600"/>
            <ac:cxnSpMk id="57" creationId="{A33BCA74-1DE6-7EDB-E9E7-7373113E2A23}"/>
          </ac:cxnSpMkLst>
        </pc:cxnChg>
        <pc:cxnChg chg="add del">
          <ac:chgData name="Navya Singh" userId="cd673361-64ef-4ed2-afd4-a7b21638fb08" providerId="ADAL" clId="{39C6D7B0-8EA4-470E-AECA-58056EC694C7}" dt="2025-03-05T12:43:02.858" v="51" actId="478"/>
          <ac:cxnSpMkLst>
            <pc:docMk/>
            <pc:sldMk cId="1039774158" sldId="2147483600"/>
            <ac:cxnSpMk id="58" creationId="{D8928F6E-BC75-1688-129F-2489CFBEB45C}"/>
          </ac:cxnSpMkLst>
        </pc:cxnChg>
        <pc:cxnChg chg="add mod">
          <ac:chgData name="Navya Singh" userId="cd673361-64ef-4ed2-afd4-a7b21638fb08" providerId="ADAL" clId="{39C6D7B0-8EA4-470E-AECA-58056EC694C7}" dt="2025-03-05T13:03:55.901" v="1133" actId="1036"/>
          <ac:cxnSpMkLst>
            <pc:docMk/>
            <pc:sldMk cId="1039774158" sldId="2147483600"/>
            <ac:cxnSpMk id="64" creationId="{B94216FD-F45B-CD0E-5E7C-53DE84E6AD26}"/>
          </ac:cxnSpMkLst>
        </pc:cxnChg>
        <pc:cxnChg chg="add mod">
          <ac:chgData name="Navya Singh" userId="cd673361-64ef-4ed2-afd4-a7b21638fb08" providerId="ADAL" clId="{39C6D7B0-8EA4-470E-AECA-58056EC694C7}" dt="2025-03-05T13:03:55.901" v="1133" actId="1036"/>
          <ac:cxnSpMkLst>
            <pc:docMk/>
            <pc:sldMk cId="1039774158" sldId="2147483600"/>
            <ac:cxnSpMk id="86" creationId="{ED5DB69B-2C50-CEEB-5DD7-41B9922E2D99}"/>
          </ac:cxnSpMkLst>
        </pc:cxnChg>
        <pc:cxnChg chg="add del mod">
          <ac:chgData name="Navya Singh" userId="cd673361-64ef-4ed2-afd4-a7b21638fb08" providerId="ADAL" clId="{39C6D7B0-8EA4-470E-AECA-58056EC694C7}" dt="2025-03-05T13:00:41.595" v="1030" actId="478"/>
          <ac:cxnSpMkLst>
            <pc:docMk/>
            <pc:sldMk cId="1039774158" sldId="2147483600"/>
            <ac:cxnSpMk id="87" creationId="{7BD18E35-F2C4-888A-A397-6C14F30F5022}"/>
          </ac:cxnSpMkLst>
        </pc:cxnChg>
        <pc:cxnChg chg="del">
          <ac:chgData name="Navya Singh" userId="cd673361-64ef-4ed2-afd4-a7b21638fb08" providerId="ADAL" clId="{39C6D7B0-8EA4-470E-AECA-58056EC694C7}" dt="2025-03-05T13:01:11.515" v="1050" actId="478"/>
          <ac:cxnSpMkLst>
            <pc:docMk/>
            <pc:sldMk cId="1039774158" sldId="2147483600"/>
            <ac:cxnSpMk id="88" creationId="{9BECD5FF-1B1D-6CF1-0A13-794B216541AD}"/>
          </ac:cxnSpMkLst>
        </pc:cxnChg>
        <pc:cxnChg chg="add mod">
          <ac:chgData name="Navya Singh" userId="cd673361-64ef-4ed2-afd4-a7b21638fb08" providerId="ADAL" clId="{39C6D7B0-8EA4-470E-AECA-58056EC694C7}" dt="2025-03-05T13:04:31.269" v="1235" actId="1038"/>
          <ac:cxnSpMkLst>
            <pc:docMk/>
            <pc:sldMk cId="1039774158" sldId="2147483600"/>
            <ac:cxnSpMk id="101" creationId="{2AEC6A1C-E059-7B16-D933-FFC1776075FC}"/>
          </ac:cxnSpMkLst>
        </pc:cxnChg>
      </pc:sldChg>
      <pc:sldChg chg="delSp modSp add mod modShow">
        <pc:chgData name="Navya Singh" userId="cd673361-64ef-4ed2-afd4-a7b21638fb08" providerId="ADAL" clId="{39C6D7B0-8EA4-470E-AECA-58056EC694C7}" dt="2025-03-05T13:04:05.549" v="1134" actId="729"/>
        <pc:sldMkLst>
          <pc:docMk/>
          <pc:sldMk cId="2249725247" sldId="2147483601"/>
        </pc:sldMkLst>
        <pc:spChg chg="mod topLvl">
          <ac:chgData name="Navya Singh" userId="cd673361-64ef-4ed2-afd4-a7b21638fb08" providerId="ADAL" clId="{39C6D7B0-8EA4-470E-AECA-58056EC694C7}" dt="2025-03-05T12:59:50.925" v="1027" actId="165"/>
          <ac:spMkLst>
            <pc:docMk/>
            <pc:sldMk cId="2249725247" sldId="2147483601"/>
            <ac:spMk id="4" creationId="{54BEB2A6-139D-72AA-094B-0A8A0A5333D1}"/>
          </ac:spMkLst>
        </pc:spChg>
        <pc:spChg chg="mod topLvl">
          <ac:chgData name="Navya Singh" userId="cd673361-64ef-4ed2-afd4-a7b21638fb08" providerId="ADAL" clId="{39C6D7B0-8EA4-470E-AECA-58056EC694C7}" dt="2025-03-05T12:59:50.925" v="1027" actId="165"/>
          <ac:spMkLst>
            <pc:docMk/>
            <pc:sldMk cId="2249725247" sldId="2147483601"/>
            <ac:spMk id="5" creationId="{355A8AE4-FD8D-F7B7-3918-AE9C06A2ED49}"/>
          </ac:spMkLst>
        </pc:spChg>
        <pc:spChg chg="mod topLvl">
          <ac:chgData name="Navya Singh" userId="cd673361-64ef-4ed2-afd4-a7b21638fb08" providerId="ADAL" clId="{39C6D7B0-8EA4-470E-AECA-58056EC694C7}" dt="2025-03-05T12:59:50.925" v="1027" actId="165"/>
          <ac:spMkLst>
            <pc:docMk/>
            <pc:sldMk cId="2249725247" sldId="2147483601"/>
            <ac:spMk id="157" creationId="{AF5A37B4-B35E-9D2B-1FCC-687313EA2D26}"/>
          </ac:spMkLst>
        </pc:spChg>
        <pc:spChg chg="mod topLvl">
          <ac:chgData name="Navya Singh" userId="cd673361-64ef-4ed2-afd4-a7b21638fb08" providerId="ADAL" clId="{39C6D7B0-8EA4-470E-AECA-58056EC694C7}" dt="2025-03-05T12:59:50.925" v="1027" actId="165"/>
          <ac:spMkLst>
            <pc:docMk/>
            <pc:sldMk cId="2249725247" sldId="2147483601"/>
            <ac:spMk id="160" creationId="{69CCC20E-B27A-D654-0F44-5112ED3128CD}"/>
          </ac:spMkLst>
        </pc:spChg>
        <pc:spChg chg="mod topLvl">
          <ac:chgData name="Navya Singh" userId="cd673361-64ef-4ed2-afd4-a7b21638fb08" providerId="ADAL" clId="{39C6D7B0-8EA4-470E-AECA-58056EC694C7}" dt="2025-03-05T12:59:50.925" v="1027" actId="165"/>
          <ac:spMkLst>
            <pc:docMk/>
            <pc:sldMk cId="2249725247" sldId="2147483601"/>
            <ac:spMk id="162" creationId="{B28044B1-9BFB-A121-4278-3CF8797FBE44}"/>
          </ac:spMkLst>
        </pc:spChg>
        <pc:spChg chg="mod topLvl">
          <ac:chgData name="Navya Singh" userId="cd673361-64ef-4ed2-afd4-a7b21638fb08" providerId="ADAL" clId="{39C6D7B0-8EA4-470E-AECA-58056EC694C7}" dt="2025-03-05T12:59:50.925" v="1027" actId="165"/>
          <ac:spMkLst>
            <pc:docMk/>
            <pc:sldMk cId="2249725247" sldId="2147483601"/>
            <ac:spMk id="183" creationId="{64EE3AAD-48E0-0124-BA6A-7868A8394F76}"/>
          </ac:spMkLst>
        </pc:spChg>
        <pc:spChg chg="mod topLvl">
          <ac:chgData name="Navya Singh" userId="cd673361-64ef-4ed2-afd4-a7b21638fb08" providerId="ADAL" clId="{39C6D7B0-8EA4-470E-AECA-58056EC694C7}" dt="2025-03-05T12:59:50.925" v="1027" actId="165"/>
          <ac:spMkLst>
            <pc:docMk/>
            <pc:sldMk cId="2249725247" sldId="2147483601"/>
            <ac:spMk id="186" creationId="{C6E4429A-1DDE-FC0D-2B50-DBFD3F29B9EA}"/>
          </ac:spMkLst>
        </pc:spChg>
        <pc:spChg chg="mod topLvl">
          <ac:chgData name="Navya Singh" userId="cd673361-64ef-4ed2-afd4-a7b21638fb08" providerId="ADAL" clId="{39C6D7B0-8EA4-470E-AECA-58056EC694C7}" dt="2025-03-05T12:59:50.925" v="1027" actId="165"/>
          <ac:spMkLst>
            <pc:docMk/>
            <pc:sldMk cId="2249725247" sldId="2147483601"/>
            <ac:spMk id="193" creationId="{E22D5156-1CE5-F3ED-EF8A-E0EAECB506AE}"/>
          </ac:spMkLst>
        </pc:spChg>
        <pc:spChg chg="mod">
          <ac:chgData name="Navya Singh" userId="cd673361-64ef-4ed2-afd4-a7b21638fb08" providerId="ADAL" clId="{39C6D7B0-8EA4-470E-AECA-58056EC694C7}" dt="2025-03-05T12:59:50.925" v="1027" actId="165"/>
          <ac:spMkLst>
            <pc:docMk/>
            <pc:sldMk cId="2249725247" sldId="2147483601"/>
            <ac:spMk id="196" creationId="{28D49D4F-F5F2-846A-E2AA-A3D28EFA7147}"/>
          </ac:spMkLst>
        </pc:spChg>
        <pc:spChg chg="mod">
          <ac:chgData name="Navya Singh" userId="cd673361-64ef-4ed2-afd4-a7b21638fb08" providerId="ADAL" clId="{39C6D7B0-8EA4-470E-AECA-58056EC694C7}" dt="2025-03-05T12:59:50.925" v="1027" actId="165"/>
          <ac:spMkLst>
            <pc:docMk/>
            <pc:sldMk cId="2249725247" sldId="2147483601"/>
            <ac:spMk id="197" creationId="{7A9A16B5-550C-3724-AE18-FF1A08DE3DCD}"/>
          </ac:spMkLst>
        </pc:spChg>
      </pc:sldChg>
    </pc:docChg>
  </pc:docChgLst>
  <pc:docChgLst>
    <pc:chgData name="Janvi Gupta" userId="930db329-4c53-4651-870b-a29f9cbc9919" providerId="ADAL" clId="{1BC39D2C-F6B6-4724-819C-323239FEC9D3}"/>
    <pc:docChg chg="undo custSel delSld modSld modSection">
      <pc:chgData name="Janvi Gupta" userId="930db329-4c53-4651-870b-a29f9cbc9919" providerId="ADAL" clId="{1BC39D2C-F6B6-4724-819C-323239FEC9D3}" dt="2025-03-05T13:09:38.530" v="15"/>
      <pc:docMkLst>
        <pc:docMk/>
      </pc:docMkLst>
      <pc:sldChg chg="modTransition">
        <pc:chgData name="Janvi Gupta" userId="930db329-4c53-4651-870b-a29f9cbc9919" providerId="ADAL" clId="{1BC39D2C-F6B6-4724-819C-323239FEC9D3}" dt="2025-03-05T13:09:34.278" v="14"/>
        <pc:sldMkLst>
          <pc:docMk/>
          <pc:sldMk cId="1505020791" sldId="292"/>
        </pc:sldMkLst>
      </pc:sldChg>
      <pc:sldChg chg="delSp mod">
        <pc:chgData name="Janvi Gupta" userId="930db329-4c53-4651-870b-a29f9cbc9919" providerId="ADAL" clId="{1BC39D2C-F6B6-4724-819C-323239FEC9D3}" dt="2025-03-05T12:59:38.308" v="0" actId="478"/>
        <pc:sldMkLst>
          <pc:docMk/>
          <pc:sldMk cId="49438611" sldId="2147483597"/>
        </pc:sldMkLst>
        <pc:spChg chg="del">
          <ac:chgData name="Janvi Gupta" userId="930db329-4c53-4651-870b-a29f9cbc9919" providerId="ADAL" clId="{1BC39D2C-F6B6-4724-819C-323239FEC9D3}" dt="2025-03-05T12:59:38.308" v="0" actId="478"/>
          <ac:spMkLst>
            <pc:docMk/>
            <pc:sldMk cId="49438611" sldId="2147483597"/>
            <ac:spMk id="14" creationId="{5A799EE4-411D-9DD5-4281-E5C6D74D029C}"/>
          </ac:spMkLst>
        </pc:spChg>
      </pc:sldChg>
      <pc:sldChg chg="addSp delSp modSp mod modTransition">
        <pc:chgData name="Janvi Gupta" userId="930db329-4c53-4651-870b-a29f9cbc9919" providerId="ADAL" clId="{1BC39D2C-F6B6-4724-819C-323239FEC9D3}" dt="2025-03-05T13:09:38.530" v="15"/>
        <pc:sldMkLst>
          <pc:docMk/>
          <pc:sldMk cId="1039774158" sldId="2147483600"/>
        </pc:sldMkLst>
        <pc:spChg chg="mod">
          <ac:chgData name="Janvi Gupta" userId="930db329-4c53-4651-870b-a29f9cbc9919" providerId="ADAL" clId="{1BC39D2C-F6B6-4724-819C-323239FEC9D3}" dt="2025-03-05T13:05:10.076" v="7" actId="2711"/>
          <ac:spMkLst>
            <pc:docMk/>
            <pc:sldMk cId="1039774158" sldId="2147483600"/>
            <ac:spMk id="77" creationId="{ED941E5A-7306-5133-E7EE-6EEC352A7D80}"/>
          </ac:spMkLst>
        </pc:spChg>
        <pc:spChg chg="mod">
          <ac:chgData name="Janvi Gupta" userId="930db329-4c53-4651-870b-a29f9cbc9919" providerId="ADAL" clId="{1BC39D2C-F6B6-4724-819C-323239FEC9D3}" dt="2025-03-05T13:05:10.076" v="7" actId="2711"/>
          <ac:spMkLst>
            <pc:docMk/>
            <pc:sldMk cId="1039774158" sldId="2147483600"/>
            <ac:spMk id="78" creationId="{2A1DA313-5554-3709-C96A-7651B79AE362}"/>
          </ac:spMkLst>
        </pc:spChg>
        <pc:spChg chg="mod">
          <ac:chgData name="Janvi Gupta" userId="930db329-4c53-4651-870b-a29f9cbc9919" providerId="ADAL" clId="{1BC39D2C-F6B6-4724-819C-323239FEC9D3}" dt="2025-03-05T13:05:10.076" v="7" actId="2711"/>
          <ac:spMkLst>
            <pc:docMk/>
            <pc:sldMk cId="1039774158" sldId="2147483600"/>
            <ac:spMk id="79" creationId="{7315A212-CF97-10C9-009D-EB837A66094F}"/>
          </ac:spMkLst>
        </pc:spChg>
        <pc:spChg chg="mod">
          <ac:chgData name="Janvi Gupta" userId="930db329-4c53-4651-870b-a29f9cbc9919" providerId="ADAL" clId="{1BC39D2C-F6B6-4724-819C-323239FEC9D3}" dt="2025-03-05T13:05:10.076" v="7" actId="2711"/>
          <ac:spMkLst>
            <pc:docMk/>
            <pc:sldMk cId="1039774158" sldId="2147483600"/>
            <ac:spMk id="80" creationId="{15D6FADD-3F7F-D8B4-6AE7-40C3BADA4E4D}"/>
          </ac:spMkLst>
        </pc:spChg>
        <pc:spChg chg="mod">
          <ac:chgData name="Janvi Gupta" userId="930db329-4c53-4651-870b-a29f9cbc9919" providerId="ADAL" clId="{1BC39D2C-F6B6-4724-819C-323239FEC9D3}" dt="2025-03-05T13:05:10.076" v="7" actId="2711"/>
          <ac:spMkLst>
            <pc:docMk/>
            <pc:sldMk cId="1039774158" sldId="2147483600"/>
            <ac:spMk id="81" creationId="{0D6D333A-A001-8183-2F81-51CF5F4E082F}"/>
          </ac:spMkLst>
        </pc:spChg>
        <pc:spChg chg="mod">
          <ac:chgData name="Janvi Gupta" userId="930db329-4c53-4651-870b-a29f9cbc9919" providerId="ADAL" clId="{1BC39D2C-F6B6-4724-819C-323239FEC9D3}" dt="2025-03-05T13:05:10.076" v="7" actId="2711"/>
          <ac:spMkLst>
            <pc:docMk/>
            <pc:sldMk cId="1039774158" sldId="2147483600"/>
            <ac:spMk id="82" creationId="{E4602DDF-BD65-C09D-B1A2-D1E7D8423C36}"/>
          </ac:spMkLst>
        </pc:spChg>
        <pc:spChg chg="mod">
          <ac:chgData name="Janvi Gupta" userId="930db329-4c53-4651-870b-a29f9cbc9919" providerId="ADAL" clId="{1BC39D2C-F6B6-4724-819C-323239FEC9D3}" dt="2025-03-05T13:05:10.076" v="7" actId="2711"/>
          <ac:spMkLst>
            <pc:docMk/>
            <pc:sldMk cId="1039774158" sldId="2147483600"/>
            <ac:spMk id="83" creationId="{B74F979F-BC93-B612-25F0-603E8ECB0DC8}"/>
          </ac:spMkLst>
        </pc:spChg>
        <pc:spChg chg="mod">
          <ac:chgData name="Janvi Gupta" userId="930db329-4c53-4651-870b-a29f9cbc9919" providerId="ADAL" clId="{1BC39D2C-F6B6-4724-819C-323239FEC9D3}" dt="2025-03-05T13:05:10.076" v="7" actId="2711"/>
          <ac:spMkLst>
            <pc:docMk/>
            <pc:sldMk cId="1039774158" sldId="2147483600"/>
            <ac:spMk id="84" creationId="{2F4D4219-4297-E9FC-BF85-4DC6C1AED56D}"/>
          </ac:spMkLst>
        </pc:spChg>
        <pc:spChg chg="mod">
          <ac:chgData name="Janvi Gupta" userId="930db329-4c53-4651-870b-a29f9cbc9919" providerId="ADAL" clId="{1BC39D2C-F6B6-4724-819C-323239FEC9D3}" dt="2025-03-05T13:05:10.076" v="7" actId="2711"/>
          <ac:spMkLst>
            <pc:docMk/>
            <pc:sldMk cId="1039774158" sldId="2147483600"/>
            <ac:spMk id="85" creationId="{40389695-47F5-CE3F-3EE7-0B9EBE84C1F6}"/>
          </ac:spMkLst>
        </pc:spChg>
        <pc:spChg chg="mod">
          <ac:chgData name="Janvi Gupta" userId="930db329-4c53-4651-870b-a29f9cbc9919" providerId="ADAL" clId="{1BC39D2C-F6B6-4724-819C-323239FEC9D3}" dt="2025-03-05T13:05:01.829" v="6" actId="2711"/>
          <ac:spMkLst>
            <pc:docMk/>
            <pc:sldMk cId="1039774158" sldId="2147483600"/>
            <ac:spMk id="89" creationId="{B1165A64-1767-6482-9956-73F5B9594623}"/>
          </ac:spMkLst>
        </pc:spChg>
        <pc:spChg chg="mod">
          <ac:chgData name="Janvi Gupta" userId="930db329-4c53-4651-870b-a29f9cbc9919" providerId="ADAL" clId="{1BC39D2C-F6B6-4724-819C-323239FEC9D3}" dt="2025-03-05T13:05:01.829" v="6" actId="2711"/>
          <ac:spMkLst>
            <pc:docMk/>
            <pc:sldMk cId="1039774158" sldId="2147483600"/>
            <ac:spMk id="90" creationId="{11DF9E47-6521-C02E-3179-ED0448DF6807}"/>
          </ac:spMkLst>
        </pc:spChg>
        <pc:spChg chg="mod">
          <ac:chgData name="Janvi Gupta" userId="930db329-4c53-4651-870b-a29f9cbc9919" providerId="ADAL" clId="{1BC39D2C-F6B6-4724-819C-323239FEC9D3}" dt="2025-03-05T13:05:01.829" v="6" actId="2711"/>
          <ac:spMkLst>
            <pc:docMk/>
            <pc:sldMk cId="1039774158" sldId="2147483600"/>
            <ac:spMk id="91" creationId="{70C31495-16B1-16FC-0C40-55E423CC5CCB}"/>
          </ac:spMkLst>
        </pc:spChg>
        <pc:spChg chg="mod">
          <ac:chgData name="Janvi Gupta" userId="930db329-4c53-4651-870b-a29f9cbc9919" providerId="ADAL" clId="{1BC39D2C-F6B6-4724-819C-323239FEC9D3}" dt="2025-03-05T13:05:01.829" v="6" actId="2711"/>
          <ac:spMkLst>
            <pc:docMk/>
            <pc:sldMk cId="1039774158" sldId="2147483600"/>
            <ac:spMk id="92" creationId="{943BC27A-0292-FE72-E96A-648C83CBB89B}"/>
          </ac:spMkLst>
        </pc:spChg>
        <pc:spChg chg="mod">
          <ac:chgData name="Janvi Gupta" userId="930db329-4c53-4651-870b-a29f9cbc9919" providerId="ADAL" clId="{1BC39D2C-F6B6-4724-819C-323239FEC9D3}" dt="2025-03-05T13:05:01.829" v="6" actId="2711"/>
          <ac:spMkLst>
            <pc:docMk/>
            <pc:sldMk cId="1039774158" sldId="2147483600"/>
            <ac:spMk id="93" creationId="{60954526-B719-C37B-F299-CAB92885CBBC}"/>
          </ac:spMkLst>
        </pc:spChg>
        <pc:spChg chg="mod">
          <ac:chgData name="Janvi Gupta" userId="930db329-4c53-4651-870b-a29f9cbc9919" providerId="ADAL" clId="{1BC39D2C-F6B6-4724-819C-323239FEC9D3}" dt="2025-03-05T13:05:01.829" v="6" actId="2711"/>
          <ac:spMkLst>
            <pc:docMk/>
            <pc:sldMk cId="1039774158" sldId="2147483600"/>
            <ac:spMk id="94" creationId="{4D84C055-F1C8-5AD5-DB74-6561D42F00B3}"/>
          </ac:spMkLst>
        </pc:spChg>
        <pc:spChg chg="mod">
          <ac:chgData name="Janvi Gupta" userId="930db329-4c53-4651-870b-a29f9cbc9919" providerId="ADAL" clId="{1BC39D2C-F6B6-4724-819C-323239FEC9D3}" dt="2025-03-05T13:05:01.829" v="6" actId="2711"/>
          <ac:spMkLst>
            <pc:docMk/>
            <pc:sldMk cId="1039774158" sldId="2147483600"/>
            <ac:spMk id="95" creationId="{89390530-0AF2-C238-DDC6-4668C5DDB75C}"/>
          </ac:spMkLst>
        </pc:spChg>
        <pc:spChg chg="mod">
          <ac:chgData name="Janvi Gupta" userId="930db329-4c53-4651-870b-a29f9cbc9919" providerId="ADAL" clId="{1BC39D2C-F6B6-4724-819C-323239FEC9D3}" dt="2025-03-05T13:05:01.829" v="6" actId="2711"/>
          <ac:spMkLst>
            <pc:docMk/>
            <pc:sldMk cId="1039774158" sldId="2147483600"/>
            <ac:spMk id="96" creationId="{66A10542-B674-A606-29F4-7D010D489A9C}"/>
          </ac:spMkLst>
        </pc:spChg>
        <pc:spChg chg="mod">
          <ac:chgData name="Janvi Gupta" userId="930db329-4c53-4651-870b-a29f9cbc9919" providerId="ADAL" clId="{1BC39D2C-F6B6-4724-819C-323239FEC9D3}" dt="2025-03-05T13:05:01.829" v="6" actId="2711"/>
          <ac:spMkLst>
            <pc:docMk/>
            <pc:sldMk cId="1039774158" sldId="2147483600"/>
            <ac:spMk id="97" creationId="{17AF50F9-145D-8364-5CF5-F4E8D3143DAE}"/>
          </ac:spMkLst>
        </pc:spChg>
        <pc:spChg chg="del">
          <ac:chgData name="Janvi Gupta" userId="930db329-4c53-4651-870b-a29f9cbc9919" providerId="ADAL" clId="{1BC39D2C-F6B6-4724-819C-323239FEC9D3}" dt="2025-03-05T13:09:09.673" v="11" actId="478"/>
          <ac:spMkLst>
            <pc:docMk/>
            <pc:sldMk cId="1039774158" sldId="2147483600"/>
            <ac:spMk id="98" creationId="{D6A92537-E6F9-3FCE-C156-73E62102BE92}"/>
          </ac:spMkLst>
        </pc:spChg>
        <pc:spChg chg="del">
          <ac:chgData name="Janvi Gupta" userId="930db329-4c53-4651-870b-a29f9cbc9919" providerId="ADAL" clId="{1BC39D2C-F6B6-4724-819C-323239FEC9D3}" dt="2025-03-05T13:09:12.589" v="12" actId="478"/>
          <ac:spMkLst>
            <pc:docMk/>
            <pc:sldMk cId="1039774158" sldId="2147483600"/>
            <ac:spMk id="99" creationId="{FA63ABDF-04EF-12C5-9430-ED545F040E2A}"/>
          </ac:spMkLst>
        </pc:spChg>
        <pc:spChg chg="del">
          <ac:chgData name="Janvi Gupta" userId="930db329-4c53-4651-870b-a29f9cbc9919" providerId="ADAL" clId="{1BC39D2C-F6B6-4724-819C-323239FEC9D3}" dt="2025-03-05T13:09:12.589" v="12" actId="478"/>
          <ac:spMkLst>
            <pc:docMk/>
            <pc:sldMk cId="1039774158" sldId="2147483600"/>
            <ac:spMk id="100" creationId="{B0E707B9-A709-B608-FC91-6ABB19CFC530}"/>
          </ac:spMkLst>
        </pc:spChg>
        <pc:spChg chg="add del mod">
          <ac:chgData name="Janvi Gupta" userId="930db329-4c53-4651-870b-a29f9cbc9919" providerId="ADAL" clId="{1BC39D2C-F6B6-4724-819C-323239FEC9D3}" dt="2025-03-05T13:09:16.096" v="13" actId="478"/>
          <ac:spMkLst>
            <pc:docMk/>
            <pc:sldMk cId="1039774158" sldId="2147483600"/>
            <ac:spMk id="104" creationId="{55BEBA07-B02E-8273-DB8E-8C56B5DB009D}"/>
          </ac:spMkLst>
        </pc:spChg>
        <pc:picChg chg="del">
          <ac:chgData name="Janvi Gupta" userId="930db329-4c53-4651-870b-a29f9cbc9919" providerId="ADAL" clId="{1BC39D2C-F6B6-4724-819C-323239FEC9D3}" dt="2025-03-05T13:09:12.589" v="12" actId="478"/>
          <ac:picMkLst>
            <pc:docMk/>
            <pc:sldMk cId="1039774158" sldId="2147483600"/>
            <ac:picMk id="102" creationId="{34380A5A-489F-AEC2-2233-A9263CF869F5}"/>
          </ac:picMkLst>
        </pc:picChg>
        <pc:cxnChg chg="mod">
          <ac:chgData name="Janvi Gupta" userId="930db329-4c53-4651-870b-a29f9cbc9919" providerId="ADAL" clId="{1BC39D2C-F6B6-4724-819C-323239FEC9D3}" dt="2025-03-05T13:04:14.155" v="2" actId="1076"/>
          <ac:cxnSpMkLst>
            <pc:docMk/>
            <pc:sldMk cId="1039774158" sldId="2147483600"/>
            <ac:cxnSpMk id="86" creationId="{ED5DB69B-2C50-CEEB-5DD7-41B9922E2D99}"/>
          </ac:cxnSpMkLst>
        </pc:cxnChg>
        <pc:cxnChg chg="del">
          <ac:chgData name="Janvi Gupta" userId="930db329-4c53-4651-870b-a29f9cbc9919" providerId="ADAL" clId="{1BC39D2C-F6B6-4724-819C-323239FEC9D3}" dt="2025-03-05T13:09:12.589" v="12" actId="478"/>
          <ac:cxnSpMkLst>
            <pc:docMk/>
            <pc:sldMk cId="1039774158" sldId="2147483600"/>
            <ac:cxnSpMk id="101" creationId="{2AEC6A1C-E059-7B16-D933-FFC1776075FC}"/>
          </ac:cxnSpMkLst>
        </pc:cxnChg>
      </pc:sldChg>
      <pc:sldChg chg="del">
        <pc:chgData name="Janvi Gupta" userId="930db329-4c53-4651-870b-a29f9cbc9919" providerId="ADAL" clId="{1BC39D2C-F6B6-4724-819C-323239FEC9D3}" dt="2025-03-05T13:05:33.435" v="8" actId="47"/>
        <pc:sldMkLst>
          <pc:docMk/>
          <pc:sldMk cId="2249725247" sldId="2147483601"/>
        </pc:sldMkLst>
      </pc:sldChg>
    </pc:docChg>
  </pc:docChgLst>
  <pc:docChgLst>
    <pc:chgData name="Janvi Gupta" userId="930db329-4c53-4651-870b-a29f9cbc9919" providerId="ADAL" clId="{C47A83A9-490A-48AB-B604-1B941EB2C3A5}"/>
    <pc:docChg chg="undo custSel addSld delSld modSld delMainMaster delSection modSection">
      <pc:chgData name="Janvi Gupta" userId="930db329-4c53-4651-870b-a29f9cbc9919" providerId="ADAL" clId="{C47A83A9-490A-48AB-B604-1B941EB2C3A5}" dt="2025-03-05T12:01:27.158" v="926" actId="404"/>
      <pc:docMkLst>
        <pc:docMk/>
      </pc:docMkLst>
      <pc:sldChg chg="new del">
        <pc:chgData name="Janvi Gupta" userId="930db329-4c53-4651-870b-a29f9cbc9919" providerId="ADAL" clId="{C47A83A9-490A-48AB-B604-1B941EB2C3A5}" dt="2025-03-05T11:10:04.246" v="2" actId="47"/>
        <pc:sldMkLst>
          <pc:docMk/>
          <pc:sldMk cId="1892761033" sldId="256"/>
        </pc:sldMkLst>
      </pc:sldChg>
      <pc:sldChg chg="add">
        <pc:chgData name="Janvi Gupta" userId="930db329-4c53-4651-870b-a29f9cbc9919" providerId="ADAL" clId="{C47A83A9-490A-48AB-B604-1B941EB2C3A5}" dt="2025-03-05T11:10:02.271" v="1"/>
        <pc:sldMkLst>
          <pc:docMk/>
          <pc:sldMk cId="3477473308" sldId="258"/>
        </pc:sldMkLst>
      </pc:sldChg>
      <pc:sldChg chg="addSp modSp add mod">
        <pc:chgData name="Janvi Gupta" userId="930db329-4c53-4651-870b-a29f9cbc9919" providerId="ADAL" clId="{C47A83A9-490A-48AB-B604-1B941EB2C3A5}" dt="2025-03-05T11:59:42.658" v="922" actId="20577"/>
        <pc:sldMkLst>
          <pc:docMk/>
          <pc:sldMk cId="1671797124" sldId="259"/>
        </pc:sldMkLst>
        <pc:spChg chg="add mod">
          <ac:chgData name="Janvi Gupta" userId="930db329-4c53-4651-870b-a29f9cbc9919" providerId="ADAL" clId="{C47A83A9-490A-48AB-B604-1B941EB2C3A5}" dt="2025-03-05T11:59:31.947" v="921" actId="20577"/>
          <ac:spMkLst>
            <pc:docMk/>
            <pc:sldMk cId="1671797124" sldId="259"/>
            <ac:spMk id="2" creationId="{B4BFE9B9-AD3A-8579-6F89-6E4032CF2E6A}"/>
          </ac:spMkLst>
        </pc:spChg>
        <pc:spChg chg="add mod">
          <ac:chgData name="Janvi Gupta" userId="930db329-4c53-4651-870b-a29f9cbc9919" providerId="ADAL" clId="{C47A83A9-490A-48AB-B604-1B941EB2C3A5}" dt="2025-03-05T11:49:18.592" v="603" actId="1036"/>
          <ac:spMkLst>
            <pc:docMk/>
            <pc:sldMk cId="1671797124" sldId="259"/>
            <ac:spMk id="4" creationId="{F40168A3-517F-3E7B-F909-FF8EBAE1BB3B}"/>
          </ac:spMkLst>
        </pc:spChg>
        <pc:spChg chg="mod">
          <ac:chgData name="Janvi Gupta" userId="930db329-4c53-4651-870b-a29f9cbc9919" providerId="ADAL" clId="{C47A83A9-490A-48AB-B604-1B941EB2C3A5}" dt="2025-03-05T11:10:42.700" v="5" actId="20577"/>
          <ac:spMkLst>
            <pc:docMk/>
            <pc:sldMk cId="1671797124" sldId="259"/>
            <ac:spMk id="23" creationId="{CC6B70D2-4885-6896-1867-4240F1B594CF}"/>
          </ac:spMkLst>
        </pc:spChg>
        <pc:spChg chg="mod">
          <ac:chgData name="Janvi Gupta" userId="930db329-4c53-4651-870b-a29f9cbc9919" providerId="ADAL" clId="{C47A83A9-490A-48AB-B604-1B941EB2C3A5}" dt="2025-03-05T11:23:07.848" v="88" actId="20577"/>
          <ac:spMkLst>
            <pc:docMk/>
            <pc:sldMk cId="1671797124" sldId="259"/>
            <ac:spMk id="24" creationId="{F4DC376D-B37A-2C81-65B7-32A181D9EA5F}"/>
          </ac:spMkLst>
        </pc:spChg>
        <pc:spChg chg="mod">
          <ac:chgData name="Janvi Gupta" userId="930db329-4c53-4651-870b-a29f9cbc9919" providerId="ADAL" clId="{C47A83A9-490A-48AB-B604-1B941EB2C3A5}" dt="2025-03-05T11:48:14.741" v="547" actId="20577"/>
          <ac:spMkLst>
            <pc:docMk/>
            <pc:sldMk cId="1671797124" sldId="259"/>
            <ac:spMk id="26" creationId="{1C4BAD5D-0529-8DAA-6974-96564F9FC6D1}"/>
          </ac:spMkLst>
        </pc:spChg>
        <pc:spChg chg="mod">
          <ac:chgData name="Janvi Gupta" userId="930db329-4c53-4651-870b-a29f9cbc9919" providerId="ADAL" clId="{C47A83A9-490A-48AB-B604-1B941EB2C3A5}" dt="2025-03-05T11:59:42.658" v="922" actId="20577"/>
          <ac:spMkLst>
            <pc:docMk/>
            <pc:sldMk cId="1671797124" sldId="259"/>
            <ac:spMk id="27" creationId="{41EF2F6B-A64E-699F-8373-56951D324983}"/>
          </ac:spMkLst>
        </pc:spChg>
        <pc:spChg chg="mod">
          <ac:chgData name="Janvi Gupta" userId="930db329-4c53-4651-870b-a29f9cbc9919" providerId="ADAL" clId="{C47A83A9-490A-48AB-B604-1B941EB2C3A5}" dt="2025-03-05T11:49:04.988" v="594" actId="21"/>
          <ac:spMkLst>
            <pc:docMk/>
            <pc:sldMk cId="1671797124" sldId="259"/>
            <ac:spMk id="33" creationId="{89074B75-5915-2682-057A-4199589178AB}"/>
          </ac:spMkLst>
        </pc:spChg>
      </pc:sldChg>
      <pc:sldChg chg="delSp modSp add mod">
        <pc:chgData name="Janvi Gupta" userId="930db329-4c53-4651-870b-a29f9cbc9919" providerId="ADAL" clId="{C47A83A9-490A-48AB-B604-1B941EB2C3A5}" dt="2025-03-05T11:43:40.470" v="429" actId="1076"/>
        <pc:sldMkLst>
          <pc:docMk/>
          <pc:sldMk cId="4105577861" sldId="290"/>
        </pc:sldMkLst>
        <pc:spChg chg="mod">
          <ac:chgData name="Janvi Gupta" userId="930db329-4c53-4651-870b-a29f9cbc9919" providerId="ADAL" clId="{C47A83A9-490A-48AB-B604-1B941EB2C3A5}" dt="2025-03-05T11:12:43.889" v="53" actId="1076"/>
          <ac:spMkLst>
            <pc:docMk/>
            <pc:sldMk cId="4105577861" sldId="290"/>
            <ac:spMk id="2" creationId="{D232FCEE-D591-866F-4B49-BCCA97BA768B}"/>
          </ac:spMkLst>
        </pc:spChg>
        <pc:spChg chg="del mod">
          <ac:chgData name="Janvi Gupta" userId="930db329-4c53-4651-870b-a29f9cbc9919" providerId="ADAL" clId="{C47A83A9-490A-48AB-B604-1B941EB2C3A5}" dt="2025-03-05T11:43:10.727" v="428" actId="478"/>
          <ac:spMkLst>
            <pc:docMk/>
            <pc:sldMk cId="4105577861" sldId="290"/>
            <ac:spMk id="3" creationId="{6A0604C3-0534-DE79-4AB1-0B3E596C5E80}"/>
          </ac:spMkLst>
        </pc:spChg>
        <pc:spChg chg="mod">
          <ac:chgData name="Janvi Gupta" userId="930db329-4c53-4651-870b-a29f9cbc9919" providerId="ADAL" clId="{C47A83A9-490A-48AB-B604-1B941EB2C3A5}" dt="2025-03-05T11:12:36.891" v="52" actId="1076"/>
          <ac:spMkLst>
            <pc:docMk/>
            <pc:sldMk cId="4105577861" sldId="290"/>
            <ac:spMk id="5" creationId="{60A6EA75-C803-174E-9BC8-1139EA6C2DD3}"/>
          </ac:spMkLst>
        </pc:spChg>
        <pc:spChg chg="mod">
          <ac:chgData name="Janvi Gupta" userId="930db329-4c53-4651-870b-a29f9cbc9919" providerId="ADAL" clId="{C47A83A9-490A-48AB-B604-1B941EB2C3A5}" dt="2025-03-05T11:12:36.891" v="52" actId="1076"/>
          <ac:spMkLst>
            <pc:docMk/>
            <pc:sldMk cId="4105577861" sldId="290"/>
            <ac:spMk id="12" creationId="{1867B04D-2956-AE4F-BF50-85EDCA809E83}"/>
          </ac:spMkLst>
        </pc:spChg>
        <pc:spChg chg="mod">
          <ac:chgData name="Janvi Gupta" userId="930db329-4c53-4651-870b-a29f9cbc9919" providerId="ADAL" clId="{C47A83A9-490A-48AB-B604-1B941EB2C3A5}" dt="2025-03-05T11:12:36.891" v="52" actId="1076"/>
          <ac:spMkLst>
            <pc:docMk/>
            <pc:sldMk cId="4105577861" sldId="290"/>
            <ac:spMk id="13" creationId="{CD273821-E2E7-F9C4-D58A-4A2B18283845}"/>
          </ac:spMkLst>
        </pc:spChg>
        <pc:spChg chg="mod">
          <ac:chgData name="Janvi Gupta" userId="930db329-4c53-4651-870b-a29f9cbc9919" providerId="ADAL" clId="{C47A83A9-490A-48AB-B604-1B941EB2C3A5}" dt="2025-03-05T11:42:50.421" v="421" actId="21"/>
          <ac:spMkLst>
            <pc:docMk/>
            <pc:sldMk cId="4105577861" sldId="290"/>
            <ac:spMk id="14" creationId="{5548565B-BFCD-C216-A408-CF36BFA85FFB}"/>
          </ac:spMkLst>
        </pc:spChg>
        <pc:spChg chg="mod">
          <ac:chgData name="Janvi Gupta" userId="930db329-4c53-4651-870b-a29f9cbc9919" providerId="ADAL" clId="{C47A83A9-490A-48AB-B604-1B941EB2C3A5}" dt="2025-03-05T11:43:05.145" v="426" actId="1076"/>
          <ac:spMkLst>
            <pc:docMk/>
            <pc:sldMk cId="4105577861" sldId="290"/>
            <ac:spMk id="15" creationId="{71EB831C-6B5C-DB9A-BE47-D4146AABC07E}"/>
          </ac:spMkLst>
        </pc:spChg>
        <pc:spChg chg="mod">
          <ac:chgData name="Janvi Gupta" userId="930db329-4c53-4651-870b-a29f9cbc9919" providerId="ADAL" clId="{C47A83A9-490A-48AB-B604-1B941EB2C3A5}" dt="2025-03-05T11:43:08.941" v="427" actId="1076"/>
          <ac:spMkLst>
            <pc:docMk/>
            <pc:sldMk cId="4105577861" sldId="290"/>
            <ac:spMk id="16" creationId="{5BE4E457-7846-5728-37C5-65DBA66E2326}"/>
          </ac:spMkLst>
        </pc:spChg>
        <pc:spChg chg="mod">
          <ac:chgData name="Janvi Gupta" userId="930db329-4c53-4651-870b-a29f9cbc9919" providerId="ADAL" clId="{C47A83A9-490A-48AB-B604-1B941EB2C3A5}" dt="2025-03-05T11:12:36.891" v="52" actId="1076"/>
          <ac:spMkLst>
            <pc:docMk/>
            <pc:sldMk cId="4105577861" sldId="290"/>
            <ac:spMk id="23" creationId="{3A017A4E-1FED-8D64-016A-7626ACFA0DE9}"/>
          </ac:spMkLst>
        </pc:spChg>
        <pc:spChg chg="mod">
          <ac:chgData name="Janvi Gupta" userId="930db329-4c53-4651-870b-a29f9cbc9919" providerId="ADAL" clId="{C47A83A9-490A-48AB-B604-1B941EB2C3A5}" dt="2025-03-05T11:12:36.891" v="52" actId="1076"/>
          <ac:spMkLst>
            <pc:docMk/>
            <pc:sldMk cId="4105577861" sldId="290"/>
            <ac:spMk id="24" creationId="{1A1F5A60-A26D-07C1-8BB9-4820461A8B5B}"/>
          </ac:spMkLst>
        </pc:spChg>
        <pc:spChg chg="mod">
          <ac:chgData name="Janvi Gupta" userId="930db329-4c53-4651-870b-a29f9cbc9919" providerId="ADAL" clId="{C47A83A9-490A-48AB-B604-1B941EB2C3A5}" dt="2025-03-05T11:42:59.935" v="425" actId="113"/>
          <ac:spMkLst>
            <pc:docMk/>
            <pc:sldMk cId="4105577861" sldId="290"/>
            <ac:spMk id="25" creationId="{5E37B5D4-50FB-518D-2DC1-A4992637032A}"/>
          </ac:spMkLst>
        </pc:spChg>
        <pc:spChg chg="mod">
          <ac:chgData name="Janvi Gupta" userId="930db329-4c53-4651-870b-a29f9cbc9919" providerId="ADAL" clId="{C47A83A9-490A-48AB-B604-1B941EB2C3A5}" dt="2025-03-05T11:43:40.470" v="429" actId="1076"/>
          <ac:spMkLst>
            <pc:docMk/>
            <pc:sldMk cId="4105577861" sldId="290"/>
            <ac:spMk id="46" creationId="{299A9B93-BA35-D2E4-362C-9B0D0F139B44}"/>
          </ac:spMkLst>
        </pc:spChg>
        <pc:spChg chg="mod">
          <ac:chgData name="Janvi Gupta" userId="930db329-4c53-4651-870b-a29f9cbc9919" providerId="ADAL" clId="{C47A83A9-490A-48AB-B604-1B941EB2C3A5}" dt="2025-03-05T11:12:48.383" v="54" actId="1076"/>
          <ac:spMkLst>
            <pc:docMk/>
            <pc:sldMk cId="4105577861" sldId="290"/>
            <ac:spMk id="47" creationId="{38365B65-B0B7-B848-6668-FF8FC8E0BC55}"/>
          </ac:spMkLst>
        </pc:spChg>
        <pc:spChg chg="mod">
          <ac:chgData name="Janvi Gupta" userId="930db329-4c53-4651-870b-a29f9cbc9919" providerId="ADAL" clId="{C47A83A9-490A-48AB-B604-1B941EB2C3A5}" dt="2025-03-05T11:13:02.570" v="57" actId="1076"/>
          <ac:spMkLst>
            <pc:docMk/>
            <pc:sldMk cId="4105577861" sldId="290"/>
            <ac:spMk id="48" creationId="{8C803A27-BC22-6547-FA37-95767529DC5B}"/>
          </ac:spMkLst>
        </pc:spChg>
        <pc:spChg chg="mod">
          <ac:chgData name="Janvi Gupta" userId="930db329-4c53-4651-870b-a29f9cbc9919" providerId="ADAL" clId="{C47A83A9-490A-48AB-B604-1B941EB2C3A5}" dt="2025-03-05T11:12:54.796" v="56" actId="1076"/>
          <ac:spMkLst>
            <pc:docMk/>
            <pc:sldMk cId="4105577861" sldId="290"/>
            <ac:spMk id="49" creationId="{FBF40B56-08D1-3A38-E86D-925C94DBD56D}"/>
          </ac:spMkLst>
        </pc:spChg>
        <pc:spChg chg="mod">
          <ac:chgData name="Janvi Gupta" userId="930db329-4c53-4651-870b-a29f9cbc9919" providerId="ADAL" clId="{C47A83A9-490A-48AB-B604-1B941EB2C3A5}" dt="2025-03-05T11:13:05.639" v="58" actId="1076"/>
          <ac:spMkLst>
            <pc:docMk/>
            <pc:sldMk cId="4105577861" sldId="290"/>
            <ac:spMk id="50" creationId="{57EA2B74-D1E1-4532-6BF8-0D0F672A439F}"/>
          </ac:spMkLst>
        </pc:spChg>
        <pc:spChg chg="mod">
          <ac:chgData name="Janvi Gupta" userId="930db329-4c53-4651-870b-a29f9cbc9919" providerId="ADAL" clId="{C47A83A9-490A-48AB-B604-1B941EB2C3A5}" dt="2025-03-05T11:13:08.610" v="59" actId="1076"/>
          <ac:spMkLst>
            <pc:docMk/>
            <pc:sldMk cId="4105577861" sldId="290"/>
            <ac:spMk id="51" creationId="{AF09FCB5-4687-C83E-D9B6-0A994FECCAC9}"/>
          </ac:spMkLst>
        </pc:spChg>
        <pc:spChg chg="mod">
          <ac:chgData name="Janvi Gupta" userId="930db329-4c53-4651-870b-a29f9cbc9919" providerId="ADAL" clId="{C47A83A9-490A-48AB-B604-1B941EB2C3A5}" dt="2025-03-05T11:13:18.645" v="62" actId="1076"/>
          <ac:spMkLst>
            <pc:docMk/>
            <pc:sldMk cId="4105577861" sldId="290"/>
            <ac:spMk id="53" creationId="{4F35A1D8-EB21-E7FD-A015-6DEFBB702E56}"/>
          </ac:spMkLst>
        </pc:spChg>
      </pc:sldChg>
      <pc:sldChg chg="add">
        <pc:chgData name="Janvi Gupta" userId="930db329-4c53-4651-870b-a29f9cbc9919" providerId="ADAL" clId="{C47A83A9-490A-48AB-B604-1B941EB2C3A5}" dt="2025-03-05T11:10:02.271" v="1"/>
        <pc:sldMkLst>
          <pc:docMk/>
          <pc:sldMk cId="1505020791" sldId="292"/>
        </pc:sldMkLst>
      </pc:sldChg>
      <pc:sldChg chg="add">
        <pc:chgData name="Janvi Gupta" userId="930db329-4c53-4651-870b-a29f9cbc9919" providerId="ADAL" clId="{C47A83A9-490A-48AB-B604-1B941EB2C3A5}" dt="2025-03-05T11:10:02.271" v="1"/>
        <pc:sldMkLst>
          <pc:docMk/>
          <pc:sldMk cId="2358766257" sldId="2147481399"/>
        </pc:sldMkLst>
      </pc:sldChg>
      <pc:sldChg chg="add">
        <pc:chgData name="Janvi Gupta" userId="930db329-4c53-4651-870b-a29f9cbc9919" providerId="ADAL" clId="{C47A83A9-490A-48AB-B604-1B941EB2C3A5}" dt="2025-03-05T11:10:02.271" v="1"/>
        <pc:sldMkLst>
          <pc:docMk/>
          <pc:sldMk cId="2938778079" sldId="2147481400"/>
        </pc:sldMkLst>
      </pc:sldChg>
      <pc:sldChg chg="addSp delSp modSp add mod">
        <pc:chgData name="Janvi Gupta" userId="930db329-4c53-4651-870b-a29f9cbc9919" providerId="ADAL" clId="{C47A83A9-490A-48AB-B604-1B941EB2C3A5}" dt="2025-03-05T11:58:47.524" v="904" actId="1076"/>
        <pc:sldMkLst>
          <pc:docMk/>
          <pc:sldMk cId="2312010352" sldId="2147481401"/>
        </pc:sldMkLst>
        <pc:spChg chg="add del mod">
          <ac:chgData name="Janvi Gupta" userId="930db329-4c53-4651-870b-a29f9cbc9919" providerId="ADAL" clId="{C47A83A9-490A-48AB-B604-1B941EB2C3A5}" dt="2025-03-05T11:26:57.915" v="91" actId="478"/>
          <ac:spMkLst>
            <pc:docMk/>
            <pc:sldMk cId="2312010352" sldId="2147481401"/>
            <ac:spMk id="3" creationId="{2C04E574-332F-4FCB-0472-87B7E726F754}"/>
          </ac:spMkLst>
        </pc:spChg>
        <pc:spChg chg="add del mod">
          <ac:chgData name="Janvi Gupta" userId="930db329-4c53-4651-870b-a29f9cbc9919" providerId="ADAL" clId="{C47A83A9-490A-48AB-B604-1B941EB2C3A5}" dt="2025-03-05T11:28:39.195" v="100" actId="478"/>
          <ac:spMkLst>
            <pc:docMk/>
            <pc:sldMk cId="2312010352" sldId="2147481401"/>
            <ac:spMk id="6" creationId="{76226774-5ADB-0951-3DFA-A8DFC6F97228}"/>
          </ac:spMkLst>
        </pc:spChg>
        <pc:spChg chg="add mod">
          <ac:chgData name="Janvi Gupta" userId="930db329-4c53-4651-870b-a29f9cbc9919" providerId="ADAL" clId="{C47A83A9-490A-48AB-B604-1B941EB2C3A5}" dt="2025-03-05T11:40:39.965" v="262" actId="20577"/>
          <ac:spMkLst>
            <pc:docMk/>
            <pc:sldMk cId="2312010352" sldId="2147481401"/>
            <ac:spMk id="8" creationId="{A2A6342E-1856-FBEC-4C02-EBF2D4F0107C}"/>
          </ac:spMkLst>
        </pc:spChg>
        <pc:spChg chg="add mod">
          <ac:chgData name="Janvi Gupta" userId="930db329-4c53-4651-870b-a29f9cbc9919" providerId="ADAL" clId="{C47A83A9-490A-48AB-B604-1B941EB2C3A5}" dt="2025-03-05T11:40:45.491" v="263" actId="1076"/>
          <ac:spMkLst>
            <pc:docMk/>
            <pc:sldMk cId="2312010352" sldId="2147481401"/>
            <ac:spMk id="10" creationId="{623C3025-AA05-A292-1BFA-99CF77954A04}"/>
          </ac:spMkLst>
        </pc:spChg>
        <pc:spChg chg="add mod">
          <ac:chgData name="Janvi Gupta" userId="930db329-4c53-4651-870b-a29f9cbc9919" providerId="ADAL" clId="{C47A83A9-490A-48AB-B604-1B941EB2C3A5}" dt="2025-03-05T11:40:49.387" v="264" actId="1076"/>
          <ac:spMkLst>
            <pc:docMk/>
            <pc:sldMk cId="2312010352" sldId="2147481401"/>
            <ac:spMk id="12" creationId="{829F6D18-DC2C-D9BC-9F1B-BD97C1AF5E34}"/>
          </ac:spMkLst>
        </pc:spChg>
        <pc:spChg chg="add mod">
          <ac:chgData name="Janvi Gupta" userId="930db329-4c53-4651-870b-a29f9cbc9919" providerId="ADAL" clId="{C47A83A9-490A-48AB-B604-1B941EB2C3A5}" dt="2025-03-05T11:58:18.982" v="899" actId="1038"/>
          <ac:spMkLst>
            <pc:docMk/>
            <pc:sldMk cId="2312010352" sldId="2147481401"/>
            <ac:spMk id="13" creationId="{0FB6F464-8ACC-0B1B-F7FD-5019A75E6172}"/>
          </ac:spMkLst>
        </pc:spChg>
        <pc:spChg chg="add mod">
          <ac:chgData name="Janvi Gupta" userId="930db329-4c53-4651-870b-a29f9cbc9919" providerId="ADAL" clId="{C47A83A9-490A-48AB-B604-1B941EB2C3A5}" dt="2025-03-05T11:58:18.982" v="899" actId="1038"/>
          <ac:spMkLst>
            <pc:docMk/>
            <pc:sldMk cId="2312010352" sldId="2147481401"/>
            <ac:spMk id="14" creationId="{969128F3-7FC0-1941-47C5-0C0263124BF3}"/>
          </ac:spMkLst>
        </pc:spChg>
        <pc:spChg chg="mod">
          <ac:chgData name="Janvi Gupta" userId="930db329-4c53-4651-870b-a29f9cbc9919" providerId="ADAL" clId="{C47A83A9-490A-48AB-B604-1B941EB2C3A5}" dt="2025-03-05T11:22:53.437" v="86" actId="20577"/>
          <ac:spMkLst>
            <pc:docMk/>
            <pc:sldMk cId="2312010352" sldId="2147481401"/>
            <ac:spMk id="73" creationId="{11EFA74B-C6E1-E3D6-FC60-4AE4A24392D9}"/>
          </ac:spMkLst>
        </pc:spChg>
        <pc:spChg chg="mod">
          <ac:chgData name="Janvi Gupta" userId="930db329-4c53-4651-870b-a29f9cbc9919" providerId="ADAL" clId="{C47A83A9-490A-48AB-B604-1B941EB2C3A5}" dt="2025-03-05T11:22:22.224" v="72" actId="1035"/>
          <ac:spMkLst>
            <pc:docMk/>
            <pc:sldMk cId="2312010352" sldId="2147481401"/>
            <ac:spMk id="114" creationId="{64D36884-FCD7-E49B-B47E-2CC946BE2DDA}"/>
          </ac:spMkLst>
        </pc:spChg>
        <pc:spChg chg="mod">
          <ac:chgData name="Janvi Gupta" userId="930db329-4c53-4651-870b-a29f9cbc9919" providerId="ADAL" clId="{C47A83A9-490A-48AB-B604-1B941EB2C3A5}" dt="2025-03-05T11:22:30.291" v="78" actId="1035"/>
          <ac:spMkLst>
            <pc:docMk/>
            <pc:sldMk cId="2312010352" sldId="2147481401"/>
            <ac:spMk id="115" creationId="{4F284910-F8C9-1CEC-7DA8-5A1DC3705D8B}"/>
          </ac:spMkLst>
        </pc:spChg>
        <pc:spChg chg="mod">
          <ac:chgData name="Janvi Gupta" userId="930db329-4c53-4651-870b-a29f9cbc9919" providerId="ADAL" clId="{C47A83A9-490A-48AB-B604-1B941EB2C3A5}" dt="2025-03-05T11:22:34.294" v="84" actId="1035"/>
          <ac:spMkLst>
            <pc:docMk/>
            <pc:sldMk cId="2312010352" sldId="2147481401"/>
            <ac:spMk id="116" creationId="{3546F528-BB29-F42F-2BF6-22515983EF68}"/>
          </ac:spMkLst>
        </pc:spChg>
        <pc:spChg chg="mod">
          <ac:chgData name="Janvi Gupta" userId="930db329-4c53-4651-870b-a29f9cbc9919" providerId="ADAL" clId="{C47A83A9-490A-48AB-B604-1B941EB2C3A5}" dt="2025-03-05T11:42:14.718" v="368" actId="20577"/>
          <ac:spMkLst>
            <pc:docMk/>
            <pc:sldMk cId="2312010352" sldId="2147481401"/>
            <ac:spMk id="123" creationId="{6625871A-6720-C88C-7B46-5EA719A729C1}"/>
          </ac:spMkLst>
        </pc:spChg>
        <pc:spChg chg="mod">
          <ac:chgData name="Janvi Gupta" userId="930db329-4c53-4651-870b-a29f9cbc9919" providerId="ADAL" clId="{C47A83A9-490A-48AB-B604-1B941EB2C3A5}" dt="2025-03-05T11:58:47.524" v="904" actId="1076"/>
          <ac:spMkLst>
            <pc:docMk/>
            <pc:sldMk cId="2312010352" sldId="2147481401"/>
            <ac:spMk id="153" creationId="{E25A3956-185B-52F0-9A6E-E0DAF9A20D2E}"/>
          </ac:spMkLst>
        </pc:spChg>
        <pc:cxnChg chg="mod">
          <ac:chgData name="Janvi Gupta" userId="930db329-4c53-4651-870b-a29f9cbc9919" providerId="ADAL" clId="{C47A83A9-490A-48AB-B604-1B941EB2C3A5}" dt="2025-03-05T11:58:26.940" v="901" actId="1076"/>
          <ac:cxnSpMkLst>
            <pc:docMk/>
            <pc:sldMk cId="2312010352" sldId="2147481401"/>
            <ac:cxnSpMk id="7" creationId="{8F0C6AF3-E5C1-D07B-67FC-0583AECF0A67}"/>
          </ac:cxnSpMkLst>
        </pc:cxnChg>
      </pc:sldChg>
      <pc:sldChg chg="add">
        <pc:chgData name="Janvi Gupta" userId="930db329-4c53-4651-870b-a29f9cbc9919" providerId="ADAL" clId="{C47A83A9-490A-48AB-B604-1B941EB2C3A5}" dt="2025-03-05T11:10:02.271" v="1"/>
        <pc:sldMkLst>
          <pc:docMk/>
          <pc:sldMk cId="1745375133" sldId="2147483591"/>
        </pc:sldMkLst>
      </pc:sldChg>
      <pc:sldChg chg="add">
        <pc:chgData name="Janvi Gupta" userId="930db329-4c53-4651-870b-a29f9cbc9919" providerId="ADAL" clId="{C47A83A9-490A-48AB-B604-1B941EB2C3A5}" dt="2025-03-05T11:10:02.271" v="1"/>
        <pc:sldMkLst>
          <pc:docMk/>
          <pc:sldMk cId="4150719420" sldId="2147483592"/>
        </pc:sldMkLst>
      </pc:sldChg>
      <pc:sldChg chg="modSp add mod">
        <pc:chgData name="Janvi Gupta" userId="930db329-4c53-4651-870b-a29f9cbc9919" providerId="ADAL" clId="{C47A83A9-490A-48AB-B604-1B941EB2C3A5}" dt="2025-03-05T12:00:15.154" v="925"/>
        <pc:sldMkLst>
          <pc:docMk/>
          <pc:sldMk cId="49438611" sldId="2147483597"/>
        </pc:sldMkLst>
        <pc:spChg chg="mod">
          <ac:chgData name="Janvi Gupta" userId="930db329-4c53-4651-870b-a29f9cbc9919" providerId="ADAL" clId="{C47A83A9-490A-48AB-B604-1B941EB2C3A5}" dt="2025-03-05T12:00:15.154" v="925"/>
          <ac:spMkLst>
            <pc:docMk/>
            <pc:sldMk cId="49438611" sldId="2147483597"/>
            <ac:spMk id="20" creationId="{0C59A92A-70DF-3357-E302-15CE2733ACE0}"/>
          </ac:spMkLst>
        </pc:spChg>
      </pc:sldChg>
      <pc:sldChg chg="addSp delSp modSp add mod">
        <pc:chgData name="Janvi Gupta" userId="930db329-4c53-4651-870b-a29f9cbc9919" providerId="ADAL" clId="{C47A83A9-490A-48AB-B604-1B941EB2C3A5}" dt="2025-03-05T12:01:27.158" v="926" actId="404"/>
        <pc:sldMkLst>
          <pc:docMk/>
          <pc:sldMk cId="1039774158" sldId="2147483600"/>
        </pc:sldMkLst>
        <pc:spChg chg="mod">
          <ac:chgData name="Janvi Gupta" userId="930db329-4c53-4651-870b-a29f9cbc9919" providerId="ADAL" clId="{C47A83A9-490A-48AB-B604-1B941EB2C3A5}" dt="2025-03-05T11:53:14.124" v="724" actId="6549"/>
          <ac:spMkLst>
            <pc:docMk/>
            <pc:sldMk cId="1039774158" sldId="2147483600"/>
            <ac:spMk id="4" creationId="{B4D16CEB-9F5D-9E87-CAE5-7640EA90A7AC}"/>
          </ac:spMkLst>
        </pc:spChg>
        <pc:spChg chg="mod">
          <ac:chgData name="Janvi Gupta" userId="930db329-4c53-4651-870b-a29f9cbc9919" providerId="ADAL" clId="{C47A83A9-490A-48AB-B604-1B941EB2C3A5}" dt="2025-03-05T11:55:55.649" v="851" actId="1076"/>
          <ac:spMkLst>
            <pc:docMk/>
            <pc:sldMk cId="1039774158" sldId="2147483600"/>
            <ac:spMk id="7" creationId="{20D961BA-B73F-5558-4E3C-3C3979184FD5}"/>
          </ac:spMkLst>
        </pc:spChg>
        <pc:spChg chg="add mod">
          <ac:chgData name="Janvi Gupta" userId="930db329-4c53-4651-870b-a29f9cbc9919" providerId="ADAL" clId="{C47A83A9-490A-48AB-B604-1B941EB2C3A5}" dt="2025-03-05T12:01:27.158" v="926" actId="404"/>
          <ac:spMkLst>
            <pc:docMk/>
            <pc:sldMk cId="1039774158" sldId="2147483600"/>
            <ac:spMk id="8" creationId="{2AFDBAB8-F502-BB79-91BA-C9D4B953E2AE}"/>
          </ac:spMkLst>
        </pc:spChg>
        <pc:spChg chg="mod">
          <ac:chgData name="Janvi Gupta" userId="930db329-4c53-4651-870b-a29f9cbc9919" providerId="ADAL" clId="{C47A83A9-490A-48AB-B604-1B941EB2C3A5}" dt="2025-03-05T12:01:27.158" v="926" actId="404"/>
          <ac:spMkLst>
            <pc:docMk/>
            <pc:sldMk cId="1039774158" sldId="2147483600"/>
            <ac:spMk id="12" creationId="{C349A69C-D3AB-42E7-402F-252A4F8B6A30}"/>
          </ac:spMkLst>
        </pc:spChg>
        <pc:spChg chg="add mod">
          <ac:chgData name="Janvi Gupta" userId="930db329-4c53-4651-870b-a29f9cbc9919" providerId="ADAL" clId="{C47A83A9-490A-48AB-B604-1B941EB2C3A5}" dt="2025-03-05T12:01:27.158" v="926" actId="404"/>
          <ac:spMkLst>
            <pc:docMk/>
            <pc:sldMk cId="1039774158" sldId="2147483600"/>
            <ac:spMk id="13" creationId="{BB8F5474-C4B0-D266-1269-22D7074B57F7}"/>
          </ac:spMkLst>
        </pc:spChg>
        <pc:spChg chg="add mod">
          <ac:chgData name="Janvi Gupta" userId="930db329-4c53-4651-870b-a29f9cbc9919" providerId="ADAL" clId="{C47A83A9-490A-48AB-B604-1B941EB2C3A5}" dt="2025-03-05T12:01:27.158" v="926" actId="404"/>
          <ac:spMkLst>
            <pc:docMk/>
            <pc:sldMk cId="1039774158" sldId="2147483600"/>
            <ac:spMk id="14" creationId="{16F49A6E-BD44-5B06-5926-2C51BD38438E}"/>
          </ac:spMkLst>
        </pc:spChg>
        <pc:spChg chg="add mod">
          <ac:chgData name="Janvi Gupta" userId="930db329-4c53-4651-870b-a29f9cbc9919" providerId="ADAL" clId="{C47A83A9-490A-48AB-B604-1B941EB2C3A5}" dt="2025-03-05T12:01:27.158" v="926" actId="404"/>
          <ac:spMkLst>
            <pc:docMk/>
            <pc:sldMk cId="1039774158" sldId="2147483600"/>
            <ac:spMk id="15" creationId="{B6FCE887-03D2-2DA9-8FCC-4B3D11CAC417}"/>
          </ac:spMkLst>
        </pc:spChg>
        <pc:spChg chg="add mod">
          <ac:chgData name="Janvi Gupta" userId="930db329-4c53-4651-870b-a29f9cbc9919" providerId="ADAL" clId="{C47A83A9-490A-48AB-B604-1B941EB2C3A5}" dt="2025-03-05T12:01:27.158" v="926" actId="404"/>
          <ac:spMkLst>
            <pc:docMk/>
            <pc:sldMk cId="1039774158" sldId="2147483600"/>
            <ac:spMk id="16" creationId="{D595F892-AC47-4FB1-1E4A-E49325A5574F}"/>
          </ac:spMkLst>
        </pc:spChg>
        <pc:spChg chg="add mod">
          <ac:chgData name="Janvi Gupta" userId="930db329-4c53-4651-870b-a29f9cbc9919" providerId="ADAL" clId="{C47A83A9-490A-48AB-B604-1B941EB2C3A5}" dt="2025-03-05T12:01:27.158" v="926" actId="404"/>
          <ac:spMkLst>
            <pc:docMk/>
            <pc:sldMk cId="1039774158" sldId="2147483600"/>
            <ac:spMk id="17" creationId="{F5F4750C-0A7F-D2E7-28A6-578AD64A60BC}"/>
          </ac:spMkLst>
        </pc:spChg>
        <pc:spChg chg="add mod">
          <ac:chgData name="Janvi Gupta" userId="930db329-4c53-4651-870b-a29f9cbc9919" providerId="ADAL" clId="{C47A83A9-490A-48AB-B604-1B941EB2C3A5}" dt="2025-03-05T12:01:27.158" v="926" actId="404"/>
          <ac:spMkLst>
            <pc:docMk/>
            <pc:sldMk cId="1039774158" sldId="2147483600"/>
            <ac:spMk id="18" creationId="{250EB509-AF8D-8D75-A611-FE7EC3CEEB76}"/>
          </ac:spMkLst>
        </pc:spChg>
        <pc:spChg chg="add mod">
          <ac:chgData name="Janvi Gupta" userId="930db329-4c53-4651-870b-a29f9cbc9919" providerId="ADAL" clId="{C47A83A9-490A-48AB-B604-1B941EB2C3A5}" dt="2025-03-05T12:01:27.158" v="926" actId="404"/>
          <ac:spMkLst>
            <pc:docMk/>
            <pc:sldMk cId="1039774158" sldId="2147483600"/>
            <ac:spMk id="19" creationId="{D4FD9C37-8905-EC4F-EB42-AE0D341FE358}"/>
          </ac:spMkLst>
        </pc:spChg>
        <pc:spChg chg="add mod">
          <ac:chgData name="Janvi Gupta" userId="930db329-4c53-4651-870b-a29f9cbc9919" providerId="ADAL" clId="{C47A83A9-490A-48AB-B604-1B941EB2C3A5}" dt="2025-03-05T12:01:27.158" v="926" actId="404"/>
          <ac:spMkLst>
            <pc:docMk/>
            <pc:sldMk cId="1039774158" sldId="2147483600"/>
            <ac:spMk id="20" creationId="{ECE16757-81CC-BE5B-591A-7B8A23101EF9}"/>
          </ac:spMkLst>
        </pc:spChg>
        <pc:spChg chg="mod">
          <ac:chgData name="Janvi Gupta" userId="930db329-4c53-4651-870b-a29f9cbc9919" providerId="ADAL" clId="{C47A83A9-490A-48AB-B604-1B941EB2C3A5}" dt="2025-03-05T11:55:55.649" v="851" actId="1076"/>
          <ac:spMkLst>
            <pc:docMk/>
            <pc:sldMk cId="1039774158" sldId="2147483600"/>
            <ac:spMk id="21" creationId="{3E8382A1-39E0-F382-6566-7323B62DD90E}"/>
          </ac:spMkLst>
        </pc:spChg>
        <pc:spChg chg="add mod">
          <ac:chgData name="Janvi Gupta" userId="930db329-4c53-4651-870b-a29f9cbc9919" providerId="ADAL" clId="{C47A83A9-490A-48AB-B604-1B941EB2C3A5}" dt="2025-03-05T11:54:10.790" v="830" actId="1076"/>
          <ac:spMkLst>
            <pc:docMk/>
            <pc:sldMk cId="1039774158" sldId="2147483600"/>
            <ac:spMk id="22" creationId="{907A2C92-65CA-BA27-36CC-2A9A5E87BBBE}"/>
          </ac:spMkLst>
        </pc:spChg>
        <pc:spChg chg="mod">
          <ac:chgData name="Janvi Gupta" userId="930db329-4c53-4651-870b-a29f9cbc9919" providerId="ADAL" clId="{C47A83A9-490A-48AB-B604-1B941EB2C3A5}" dt="2025-03-05T11:50:41.303" v="675" actId="20577"/>
          <ac:spMkLst>
            <pc:docMk/>
            <pc:sldMk cId="1039774158" sldId="2147483600"/>
            <ac:spMk id="52" creationId="{0DFE3E40-C142-10A4-67DA-395EC4EB80F5}"/>
          </ac:spMkLst>
        </pc:spChg>
        <pc:spChg chg="del mod">
          <ac:chgData name="Janvi Gupta" userId="930db329-4c53-4651-870b-a29f9cbc9919" providerId="ADAL" clId="{C47A83A9-490A-48AB-B604-1B941EB2C3A5}" dt="2025-03-05T11:51:58.996" v="677" actId="478"/>
          <ac:spMkLst>
            <pc:docMk/>
            <pc:sldMk cId="1039774158" sldId="2147483600"/>
            <ac:spMk id="53" creationId="{DA78D618-6195-58E2-57ED-C4ADEC4F2662}"/>
          </ac:spMkLst>
        </pc:spChg>
        <pc:spChg chg="mod">
          <ac:chgData name="Janvi Gupta" userId="930db329-4c53-4651-870b-a29f9cbc9919" providerId="ADAL" clId="{C47A83A9-490A-48AB-B604-1B941EB2C3A5}" dt="2025-03-05T11:44:26.149" v="437" actId="20577"/>
          <ac:spMkLst>
            <pc:docMk/>
            <pc:sldMk cId="1039774158" sldId="2147483600"/>
            <ac:spMk id="61" creationId="{038C0EED-CEE3-3D81-24CA-3125E0C67647}"/>
          </ac:spMkLst>
        </pc:spChg>
        <pc:spChg chg="mod">
          <ac:chgData name="Janvi Gupta" userId="930db329-4c53-4651-870b-a29f9cbc9919" providerId="ADAL" clId="{C47A83A9-490A-48AB-B604-1B941EB2C3A5}" dt="2025-03-05T11:53:22.262" v="743" actId="20577"/>
          <ac:spMkLst>
            <pc:docMk/>
            <pc:sldMk cId="1039774158" sldId="2147483600"/>
            <ac:spMk id="62" creationId="{21BF6F16-1C6C-E6C1-5199-820365E764AC}"/>
          </ac:spMkLst>
        </pc:spChg>
        <pc:spChg chg="del">
          <ac:chgData name="Janvi Gupta" userId="930db329-4c53-4651-870b-a29f9cbc9919" providerId="ADAL" clId="{C47A83A9-490A-48AB-B604-1B941EB2C3A5}" dt="2025-03-05T11:51:58.996" v="677" actId="478"/>
          <ac:spMkLst>
            <pc:docMk/>
            <pc:sldMk cId="1039774158" sldId="2147483600"/>
            <ac:spMk id="72" creationId="{9B7C7D48-1EA9-F3E4-9475-41190F2FB5B1}"/>
          </ac:spMkLst>
        </pc:spChg>
        <pc:spChg chg="del">
          <ac:chgData name="Janvi Gupta" userId="930db329-4c53-4651-870b-a29f9cbc9919" providerId="ADAL" clId="{C47A83A9-490A-48AB-B604-1B941EB2C3A5}" dt="2025-03-05T11:51:58.996" v="677" actId="478"/>
          <ac:spMkLst>
            <pc:docMk/>
            <pc:sldMk cId="1039774158" sldId="2147483600"/>
            <ac:spMk id="73" creationId="{A5C7FF95-952B-7068-49C9-B2EA63A0FB94}"/>
          </ac:spMkLst>
        </pc:spChg>
        <pc:spChg chg="del mod">
          <ac:chgData name="Janvi Gupta" userId="930db329-4c53-4651-870b-a29f9cbc9919" providerId="ADAL" clId="{C47A83A9-490A-48AB-B604-1B941EB2C3A5}" dt="2025-03-05T11:51:58.996" v="677" actId="478"/>
          <ac:spMkLst>
            <pc:docMk/>
            <pc:sldMk cId="1039774158" sldId="2147483600"/>
            <ac:spMk id="74" creationId="{9914BB56-8F8D-805E-F388-12AFF7007280}"/>
          </ac:spMkLst>
        </pc:spChg>
        <pc:spChg chg="del">
          <ac:chgData name="Janvi Gupta" userId="930db329-4c53-4651-870b-a29f9cbc9919" providerId="ADAL" clId="{C47A83A9-490A-48AB-B604-1B941EB2C3A5}" dt="2025-03-05T11:51:58.996" v="677" actId="478"/>
          <ac:spMkLst>
            <pc:docMk/>
            <pc:sldMk cId="1039774158" sldId="2147483600"/>
            <ac:spMk id="76" creationId="{E844E41F-9753-A941-E28D-2E0EFB2F37C4}"/>
          </ac:spMkLst>
        </pc:spChg>
        <pc:spChg chg="del">
          <ac:chgData name="Janvi Gupta" userId="930db329-4c53-4651-870b-a29f9cbc9919" providerId="ADAL" clId="{C47A83A9-490A-48AB-B604-1B941EB2C3A5}" dt="2025-03-05T11:51:58.996" v="677" actId="478"/>
          <ac:spMkLst>
            <pc:docMk/>
            <pc:sldMk cId="1039774158" sldId="2147483600"/>
            <ac:spMk id="77" creationId="{1BED66BC-7B0F-DEAE-D353-3C7B3D7A0127}"/>
          </ac:spMkLst>
        </pc:spChg>
        <pc:spChg chg="del">
          <ac:chgData name="Janvi Gupta" userId="930db329-4c53-4651-870b-a29f9cbc9919" providerId="ADAL" clId="{C47A83A9-490A-48AB-B604-1B941EB2C3A5}" dt="2025-03-05T11:51:58.996" v="677" actId="478"/>
          <ac:spMkLst>
            <pc:docMk/>
            <pc:sldMk cId="1039774158" sldId="2147483600"/>
            <ac:spMk id="78" creationId="{C40A619E-367D-EA95-797D-8E899C5CF6EF}"/>
          </ac:spMkLst>
        </pc:spChg>
        <pc:spChg chg="del">
          <ac:chgData name="Janvi Gupta" userId="930db329-4c53-4651-870b-a29f9cbc9919" providerId="ADAL" clId="{C47A83A9-490A-48AB-B604-1B941EB2C3A5}" dt="2025-03-05T11:51:58.996" v="677" actId="478"/>
          <ac:spMkLst>
            <pc:docMk/>
            <pc:sldMk cId="1039774158" sldId="2147483600"/>
            <ac:spMk id="80" creationId="{09BB5AE1-614C-A17C-6EEF-19F709095BAB}"/>
          </ac:spMkLst>
        </pc:spChg>
        <pc:spChg chg="del">
          <ac:chgData name="Janvi Gupta" userId="930db329-4c53-4651-870b-a29f9cbc9919" providerId="ADAL" clId="{C47A83A9-490A-48AB-B604-1B941EB2C3A5}" dt="2025-03-05T11:51:58.996" v="677" actId="478"/>
          <ac:spMkLst>
            <pc:docMk/>
            <pc:sldMk cId="1039774158" sldId="2147483600"/>
            <ac:spMk id="81" creationId="{F8316BAA-35A4-FED9-EE87-577E0113B392}"/>
          </ac:spMkLst>
        </pc:spChg>
        <pc:spChg chg="del">
          <ac:chgData name="Janvi Gupta" userId="930db329-4c53-4651-870b-a29f9cbc9919" providerId="ADAL" clId="{C47A83A9-490A-48AB-B604-1B941EB2C3A5}" dt="2025-03-05T11:51:58.996" v="677" actId="478"/>
          <ac:spMkLst>
            <pc:docMk/>
            <pc:sldMk cId="1039774158" sldId="2147483600"/>
            <ac:spMk id="82" creationId="{0740ED43-329F-5A17-8B17-89D57C477778}"/>
          </ac:spMkLst>
        </pc:spChg>
      </pc:sldChg>
      <pc:sldChg chg="modSp add del mod">
        <pc:chgData name="Janvi Gupta" userId="930db329-4c53-4651-870b-a29f9cbc9919" providerId="ADAL" clId="{C47A83A9-490A-48AB-B604-1B941EB2C3A5}" dt="2025-03-05T11:52:43.154" v="687" actId="47"/>
        <pc:sldMkLst>
          <pc:docMk/>
          <pc:sldMk cId="1246647585" sldId="2147483601"/>
        </pc:sldMkLst>
        <pc:spChg chg="mod">
          <ac:chgData name="Janvi Gupta" userId="930db329-4c53-4651-870b-a29f9cbc9919" providerId="ADAL" clId="{C47A83A9-490A-48AB-B604-1B941EB2C3A5}" dt="2025-03-05T11:52:09.997" v="681" actId="1076"/>
          <ac:spMkLst>
            <pc:docMk/>
            <pc:sldMk cId="1246647585" sldId="2147483601"/>
            <ac:spMk id="23" creationId="{563FBEE3-2BC3-962D-0CFE-29A9B552BCFA}"/>
          </ac:spMkLst>
        </pc:spChg>
        <pc:spChg chg="mod">
          <ac:chgData name="Janvi Gupta" userId="930db329-4c53-4651-870b-a29f9cbc9919" providerId="ADAL" clId="{C47A83A9-490A-48AB-B604-1B941EB2C3A5}" dt="2025-03-05T11:52:09.997" v="681" actId="1076"/>
          <ac:spMkLst>
            <pc:docMk/>
            <pc:sldMk cId="1246647585" sldId="2147483601"/>
            <ac:spMk id="24" creationId="{B8768FBF-99FD-0585-8BED-1655FB7C6DCA}"/>
          </ac:spMkLst>
        </pc:spChg>
        <pc:spChg chg="mod">
          <ac:chgData name="Janvi Gupta" userId="930db329-4c53-4651-870b-a29f9cbc9919" providerId="ADAL" clId="{C47A83A9-490A-48AB-B604-1B941EB2C3A5}" dt="2025-03-05T11:52:09.997" v="681" actId="1076"/>
          <ac:spMkLst>
            <pc:docMk/>
            <pc:sldMk cId="1246647585" sldId="2147483601"/>
            <ac:spMk id="25" creationId="{035B0FFC-6511-8BEA-B919-22317404AE64}"/>
          </ac:spMkLst>
        </pc:spChg>
        <pc:spChg chg="mod">
          <ac:chgData name="Janvi Gupta" userId="930db329-4c53-4651-870b-a29f9cbc9919" providerId="ADAL" clId="{C47A83A9-490A-48AB-B604-1B941EB2C3A5}" dt="2025-03-05T11:52:09.997" v="681" actId="1076"/>
          <ac:spMkLst>
            <pc:docMk/>
            <pc:sldMk cId="1246647585" sldId="2147483601"/>
            <ac:spMk id="26" creationId="{0C47AC91-AF54-39AB-E7F5-2AE632FE82E6}"/>
          </ac:spMkLst>
        </pc:spChg>
        <pc:spChg chg="mod">
          <ac:chgData name="Janvi Gupta" userId="930db329-4c53-4651-870b-a29f9cbc9919" providerId="ADAL" clId="{C47A83A9-490A-48AB-B604-1B941EB2C3A5}" dt="2025-03-05T11:52:09.997" v="681" actId="1076"/>
          <ac:spMkLst>
            <pc:docMk/>
            <pc:sldMk cId="1246647585" sldId="2147483601"/>
            <ac:spMk id="27" creationId="{0E586E8D-E96E-022D-259C-2DBE0DDC9B2F}"/>
          </ac:spMkLst>
        </pc:spChg>
        <pc:spChg chg="mod">
          <ac:chgData name="Janvi Gupta" userId="930db329-4c53-4651-870b-a29f9cbc9919" providerId="ADAL" clId="{C47A83A9-490A-48AB-B604-1B941EB2C3A5}" dt="2025-03-05T11:52:09.997" v="681" actId="1076"/>
          <ac:spMkLst>
            <pc:docMk/>
            <pc:sldMk cId="1246647585" sldId="2147483601"/>
            <ac:spMk id="36" creationId="{13337C88-81C1-F0C5-9B36-E0AFBCB68348}"/>
          </ac:spMkLst>
        </pc:spChg>
      </pc:sldChg>
      <pc:sldMasterChg chg="del delSldLayout">
        <pc:chgData name="Janvi Gupta" userId="930db329-4c53-4651-870b-a29f9cbc9919" providerId="ADAL" clId="{C47A83A9-490A-48AB-B604-1B941EB2C3A5}" dt="2025-03-05T11:10:04.246" v="2" actId="47"/>
        <pc:sldMasterMkLst>
          <pc:docMk/>
          <pc:sldMasterMk cId="2572893780" sldId="2147483648"/>
        </pc:sldMasterMkLst>
        <pc:sldLayoutChg chg="del">
          <pc:chgData name="Janvi Gupta" userId="930db329-4c53-4651-870b-a29f9cbc9919" providerId="ADAL" clId="{C47A83A9-490A-48AB-B604-1B941EB2C3A5}" dt="2025-03-05T11:10:04.246" v="2" actId="47"/>
          <pc:sldLayoutMkLst>
            <pc:docMk/>
            <pc:sldMasterMk cId="2572893780" sldId="2147483648"/>
            <pc:sldLayoutMk cId="575632801" sldId="2147483649"/>
          </pc:sldLayoutMkLst>
        </pc:sldLayoutChg>
        <pc:sldLayoutChg chg="del">
          <pc:chgData name="Janvi Gupta" userId="930db329-4c53-4651-870b-a29f9cbc9919" providerId="ADAL" clId="{C47A83A9-490A-48AB-B604-1B941EB2C3A5}" dt="2025-03-05T11:10:04.246" v="2" actId="47"/>
          <pc:sldLayoutMkLst>
            <pc:docMk/>
            <pc:sldMasterMk cId="2572893780" sldId="2147483648"/>
            <pc:sldLayoutMk cId="3252188697" sldId="2147483650"/>
          </pc:sldLayoutMkLst>
        </pc:sldLayoutChg>
        <pc:sldLayoutChg chg="del">
          <pc:chgData name="Janvi Gupta" userId="930db329-4c53-4651-870b-a29f9cbc9919" providerId="ADAL" clId="{C47A83A9-490A-48AB-B604-1B941EB2C3A5}" dt="2025-03-05T11:10:04.246" v="2" actId="47"/>
          <pc:sldLayoutMkLst>
            <pc:docMk/>
            <pc:sldMasterMk cId="2572893780" sldId="2147483648"/>
            <pc:sldLayoutMk cId="3892358514" sldId="2147483651"/>
          </pc:sldLayoutMkLst>
        </pc:sldLayoutChg>
        <pc:sldLayoutChg chg="del">
          <pc:chgData name="Janvi Gupta" userId="930db329-4c53-4651-870b-a29f9cbc9919" providerId="ADAL" clId="{C47A83A9-490A-48AB-B604-1B941EB2C3A5}" dt="2025-03-05T11:10:04.246" v="2" actId="47"/>
          <pc:sldLayoutMkLst>
            <pc:docMk/>
            <pc:sldMasterMk cId="2572893780" sldId="2147483648"/>
            <pc:sldLayoutMk cId="4048611650" sldId="2147483652"/>
          </pc:sldLayoutMkLst>
        </pc:sldLayoutChg>
        <pc:sldLayoutChg chg="del">
          <pc:chgData name="Janvi Gupta" userId="930db329-4c53-4651-870b-a29f9cbc9919" providerId="ADAL" clId="{C47A83A9-490A-48AB-B604-1B941EB2C3A5}" dt="2025-03-05T11:10:04.246" v="2" actId="47"/>
          <pc:sldLayoutMkLst>
            <pc:docMk/>
            <pc:sldMasterMk cId="2572893780" sldId="2147483648"/>
            <pc:sldLayoutMk cId="1874410729" sldId="2147483653"/>
          </pc:sldLayoutMkLst>
        </pc:sldLayoutChg>
        <pc:sldLayoutChg chg="del">
          <pc:chgData name="Janvi Gupta" userId="930db329-4c53-4651-870b-a29f9cbc9919" providerId="ADAL" clId="{C47A83A9-490A-48AB-B604-1B941EB2C3A5}" dt="2025-03-05T11:10:04.246" v="2" actId="47"/>
          <pc:sldLayoutMkLst>
            <pc:docMk/>
            <pc:sldMasterMk cId="2572893780" sldId="2147483648"/>
            <pc:sldLayoutMk cId="3884555021" sldId="2147483654"/>
          </pc:sldLayoutMkLst>
        </pc:sldLayoutChg>
        <pc:sldLayoutChg chg="del">
          <pc:chgData name="Janvi Gupta" userId="930db329-4c53-4651-870b-a29f9cbc9919" providerId="ADAL" clId="{C47A83A9-490A-48AB-B604-1B941EB2C3A5}" dt="2025-03-05T11:10:04.246" v="2" actId="47"/>
          <pc:sldLayoutMkLst>
            <pc:docMk/>
            <pc:sldMasterMk cId="2572893780" sldId="2147483648"/>
            <pc:sldLayoutMk cId="3659155421" sldId="2147483655"/>
          </pc:sldLayoutMkLst>
        </pc:sldLayoutChg>
        <pc:sldLayoutChg chg="del">
          <pc:chgData name="Janvi Gupta" userId="930db329-4c53-4651-870b-a29f9cbc9919" providerId="ADAL" clId="{C47A83A9-490A-48AB-B604-1B941EB2C3A5}" dt="2025-03-05T11:10:04.246" v="2" actId="47"/>
          <pc:sldLayoutMkLst>
            <pc:docMk/>
            <pc:sldMasterMk cId="2572893780" sldId="2147483648"/>
            <pc:sldLayoutMk cId="2604801069" sldId="2147483656"/>
          </pc:sldLayoutMkLst>
        </pc:sldLayoutChg>
        <pc:sldLayoutChg chg="del">
          <pc:chgData name="Janvi Gupta" userId="930db329-4c53-4651-870b-a29f9cbc9919" providerId="ADAL" clId="{C47A83A9-490A-48AB-B604-1B941EB2C3A5}" dt="2025-03-05T11:10:04.246" v="2" actId="47"/>
          <pc:sldLayoutMkLst>
            <pc:docMk/>
            <pc:sldMasterMk cId="2572893780" sldId="2147483648"/>
            <pc:sldLayoutMk cId="3765833458" sldId="2147483657"/>
          </pc:sldLayoutMkLst>
        </pc:sldLayoutChg>
        <pc:sldLayoutChg chg="del">
          <pc:chgData name="Janvi Gupta" userId="930db329-4c53-4651-870b-a29f9cbc9919" providerId="ADAL" clId="{C47A83A9-490A-48AB-B604-1B941EB2C3A5}" dt="2025-03-05T11:10:04.246" v="2" actId="47"/>
          <pc:sldLayoutMkLst>
            <pc:docMk/>
            <pc:sldMasterMk cId="2572893780" sldId="2147483648"/>
            <pc:sldLayoutMk cId="111180828" sldId="2147483658"/>
          </pc:sldLayoutMkLst>
        </pc:sldLayoutChg>
        <pc:sldLayoutChg chg="del">
          <pc:chgData name="Janvi Gupta" userId="930db329-4c53-4651-870b-a29f9cbc9919" providerId="ADAL" clId="{C47A83A9-490A-48AB-B604-1B941EB2C3A5}" dt="2025-03-05T11:10:04.246" v="2" actId="47"/>
          <pc:sldLayoutMkLst>
            <pc:docMk/>
            <pc:sldMasterMk cId="2572893780" sldId="2147483648"/>
            <pc:sldLayoutMk cId="316012583" sldId="2147483659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01DBA9-6FBE-44F8-8663-1EABEF17758E}" type="datetimeFigureOut">
              <a:rPr lang="en-US" smtClean="0"/>
              <a:t>3/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0915BB-98AF-4034-BAE9-94AEC9699F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73151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81FCD0-0B3F-4662-A1E4-AB7FCE2F39E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Roboto" panose="020000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46015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A90160-BBBA-46A0-58FD-C2AB66D214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4BDFDCB-9CBB-5420-1D68-3FE5B7B181F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03EB86D-E204-4DB6-2BED-A0B2AD11DC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41E116-8BAB-99F8-E447-871E904C833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BF52DC-EC59-4DE1-BAC7-23B3848E6B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Roboto" panose="020000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21711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62695F-7CFA-FB6E-B347-3D753A1A4A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9D849FC-8F1D-8133-3AD0-AF4B7D98B14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BE92D8C-808C-5EA4-E867-370ED7C20C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59EF65-6141-E966-A8C6-E4860B3E642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99BEED-ACB6-443E-9B69-538F17040D0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59316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3EDD5F-1B97-4969-B188-1A6BC73DD2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780D9BE-C194-114E-73C2-95FF3AF0D9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0B40096-0334-4EF6-CD3B-56202E28292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6A278B-94C3-6D17-711F-F53AF9610A2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99BEED-ACB6-443E-9B69-538F17040D0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29761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05F83F-90C1-4546-180F-E249FDF478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33F6255-AEB2-4399-60B5-3AE47844BD1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049CF67-12F3-C5B2-7C8E-39C791FFE8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2042133-D5FE-4D42-68E9-7E9D59BD03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99BEED-ACB6-443E-9B69-538F17040D0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93959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D53D6E-50BC-6064-D6AA-2055BA91DA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27FCFC-D8D4-4D2E-B34F-AB4FFBB8398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B06F754-5827-04F1-0208-723E1AC1F6E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6FF061-AE0B-2221-280C-BE72C9FE466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99BEED-ACB6-443E-9B69-538F17040D0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81733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107C31-CD8F-656B-71A9-7E88BAC21F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9FE9EB4-871A-98D3-31C3-7780F1BAB02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26E2BB2-026B-0705-A692-F9C7A1AACF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43D755-5D2B-1CBD-F1B9-3529D049B1B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99BEED-ACB6-443E-9B69-538F17040D0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59656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sv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svg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sv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2.svg"/><Relationship Id="rId4" Type="http://schemas.openxmlformats.org/officeDocument/2006/relationships/image" Target="../media/image9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sv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8.png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wmf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2.svg"/><Relationship Id="rId4" Type="http://schemas.openxmlformats.org/officeDocument/2006/relationships/image" Target="../media/image9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sv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svg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2.svg"/><Relationship Id="rId4" Type="http://schemas.openxmlformats.org/officeDocument/2006/relationships/image" Target="../media/image9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, Full Innovation Curv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mart Navy SemiTrans Overlay">
            <a:extLst>
              <a:ext uri="{FF2B5EF4-FFF2-40B4-BE49-F238E27FC236}">
                <a16:creationId xmlns:a16="http://schemas.microsoft.com/office/drawing/2014/main" id="{39BA9756-44A4-AC93-1405-84B020B6F4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 noProof="0"/>
              <a:t> 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E9A5FE8-62E3-0D2E-834A-D1F1B8269B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pt-BR" noProof="0"/>
              <a:t>© 2025 NTT DATA Inc.</a:t>
            </a:r>
            <a:endParaRPr lang="en-US" noProof="0"/>
          </a:p>
        </p:txBody>
      </p:sp>
      <p:sp>
        <p:nvSpPr>
          <p:cNvPr id="3" name="Innovation Curve">
            <a:extLst>
              <a:ext uri="{FF2B5EF4-FFF2-40B4-BE49-F238E27FC236}">
                <a16:creationId xmlns:a16="http://schemas.microsoft.com/office/drawing/2014/main" id="{18332D96-F8AA-AD1E-863A-6EA58DA26D4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76672" y="0"/>
            <a:ext cx="6835842" cy="685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/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rgbClr val="FF7A00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Click to add image. Then Reorder: Send to back</a:t>
            </a:r>
          </a:p>
        </p:txBody>
      </p:sp>
      <p:sp>
        <p:nvSpPr>
          <p:cNvPr id="2" name="Info box">
            <a:extLst>
              <a:ext uri="{FF2B5EF4-FFF2-40B4-BE49-F238E27FC236}">
                <a16:creationId xmlns:a16="http://schemas.microsoft.com/office/drawing/2014/main" id="{CDC6CD3E-31EA-EA2F-BE3B-37D4E6526A11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0101235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/>
              <a:t>Information Type:</a:t>
            </a:r>
            <a:br>
              <a:rPr lang="en-US" noProof="0"/>
            </a:br>
            <a:r>
              <a:rPr lang="en-US" noProof="0"/>
              <a:t>Company:  </a:t>
            </a:r>
            <a:br>
              <a:rPr lang="en-US" noProof="0"/>
            </a:br>
            <a:r>
              <a:rPr lang="en-US" noProof="0"/>
              <a:t>Information Owner: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1BBD22-02FF-5EAB-ABA3-3C0BB396027D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fld id="{4DA5813D-2C30-4CD9-90D0-9F362372BDE9}" type="datetime1">
              <a:rPr lang="en-US" smtClean="0"/>
              <a:t>3/5/2025</a:t>
            </a:fld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566C0A6-4FFE-882A-7F2D-B9B9A23AB5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479393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rgbClr val="F8F8F8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noProof="0"/>
              <a:t>Click to edit Master title Sty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4FACCEEE-5469-CC54-C90B-C9C1BF3F2B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4793932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rgbClr val="F8F8F8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noProof="0"/>
              <a:t>Click to edit Master subtitle style</a:t>
            </a:r>
          </a:p>
        </p:txBody>
      </p:sp>
      <p:sp>
        <p:nvSpPr>
          <p:cNvPr id="13" name="NTT DATA Global Logo" descr="NTT DATA Global Logo">
            <a:extLst>
              <a:ext uri="{FF2B5EF4-FFF2-40B4-BE49-F238E27FC236}">
                <a16:creationId xmlns:a16="http://schemas.microsoft.com/office/drawing/2014/main" id="{A6808F4F-EA69-F71A-723C-E607F818792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678554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EA9222-DBBF-5953-8E15-DA10C04897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838200"/>
            <a:ext cx="11430000" cy="685800"/>
          </a:xfrm>
        </p:spPr>
        <p:txBody>
          <a:bodyPr>
            <a:noAutofit/>
          </a:bodyPr>
          <a:lstStyle>
            <a:lvl1pPr marL="0" indent="0">
              <a:buNone/>
              <a:defRPr lang="en-US" sz="2000" kern="120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62DF17-A1AB-7E8D-EC34-3A4A87B7B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45720" rIns="0" bIns="45720" rtlCol="0" anchor="t">
            <a:noAutofit/>
          </a:bodyPr>
          <a:lstStyle>
            <a:lvl1pPr>
              <a:defRPr lang="en-US"/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B3B26C9-4CC7-EA8C-EBD1-615FCBB4A9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400800"/>
            <a:ext cx="914400" cy="304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November 20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3161E99-54BE-C3A5-B54E-49B9C7224B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71600" y="6400800"/>
            <a:ext cx="4114800" cy="304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2023 NTT DATA, Inc. | NTT Ltd. and its affiliates are NTT DATA, Inc. companies.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16319C-85FE-4494-FC99-C4DE72E7B9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60D39823-8059-4D49-BD26-6D32C31B8621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568FE96-3E29-F907-5227-E6C308DA183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81000" y="1676400"/>
            <a:ext cx="11430000" cy="4572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3404503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Light_Partial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nnovation Curve">
            <a:extLst>
              <a:ext uri="{FF2B5EF4-FFF2-40B4-BE49-F238E27FC236}">
                <a16:creationId xmlns:a16="http://schemas.microsoft.com/office/drawing/2014/main" id="{00ADE50C-F63B-648C-9FD0-E0FA384DFD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6952" y="0"/>
            <a:ext cx="4602549" cy="6876288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82ADFA92-0E48-355A-2DA8-D40523A9A84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6969876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8B12889-37ED-D704-59B8-7CECF20BCF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6969876" cy="353943"/>
          </a:xfr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/>
              <a:t>Click to edit Master sub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655333B3-E5F2-A1A8-F59F-D7085B34A1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pt-BR"/>
              <a:t>© 2023 NTT DATA Americas, Inc.</a:t>
            </a:r>
            <a:endParaRPr lang="en-US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F00FCC36-8879-E02B-48F4-D31C54AAA16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en-DE"/>
              <a:t>Date</a:t>
            </a:r>
            <a:endParaRPr lang="en-US"/>
          </a:p>
        </p:txBody>
      </p:sp>
      <p:pic>
        <p:nvPicPr>
          <p:cNvPr id="5" name="NTT DATA Global Logo">
            <a:extLst>
              <a:ext uri="{FF2B5EF4-FFF2-40B4-BE49-F238E27FC236}">
                <a16:creationId xmlns:a16="http://schemas.microsoft.com/office/drawing/2014/main" id="{6696BBEF-690F-3F5E-4ABD-464267D3697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  <p:sp>
        <p:nvSpPr>
          <p:cNvPr id="6" name="Info Box">
            <a:extLst>
              <a:ext uri="{FF2B5EF4-FFF2-40B4-BE49-F238E27FC236}">
                <a16:creationId xmlns:a16="http://schemas.microsoft.com/office/drawing/2014/main" id="{A934FE38-155A-D06E-C380-44183B71379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71475" y="5875374"/>
            <a:ext cx="1958400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/>
              <a:t>Information Type:</a:t>
            </a:r>
            <a:br>
              <a:rPr lang="en-US" noProof="0"/>
            </a:br>
            <a:r>
              <a:rPr lang="en-US" noProof="0"/>
              <a:t>Company:  </a:t>
            </a:r>
            <a:br>
              <a:rPr lang="en-US" noProof="0"/>
            </a:br>
            <a:r>
              <a:rPr lang="en-US" noProof="0"/>
              <a:t>Information Owner:</a:t>
            </a:r>
          </a:p>
        </p:txBody>
      </p:sp>
    </p:spTree>
    <p:extLst>
      <p:ext uri="{BB962C8B-B14F-4D97-AF65-F5344CB8AC3E}">
        <p14:creationId xmlns:p14="http://schemas.microsoft.com/office/powerpoint/2010/main" val="383863757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Light_No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69CCA6BB-2FF1-1F79-CE75-4214597FB51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11440477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FFBC9B23-4469-4B26-BEC9-4E111C2B8F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11440477" cy="353943"/>
          </a:xfr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/>
              <a:t>Click to edit Master subtitle styl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606E1903-FF29-7A88-0707-803367E5E51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en-DE"/>
              <a:t>Date</a:t>
            </a:r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EE186BE1-1DE6-82D8-B7EF-529F2205B8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pt-BR"/>
              <a:t>© 2023 NTT DATA Americas, Inc.</a:t>
            </a:r>
            <a:endParaRPr lang="en-US"/>
          </a:p>
        </p:txBody>
      </p:sp>
      <p:sp>
        <p:nvSpPr>
          <p:cNvPr id="2" name="Info Box">
            <a:extLst>
              <a:ext uri="{FF2B5EF4-FFF2-40B4-BE49-F238E27FC236}">
                <a16:creationId xmlns:a16="http://schemas.microsoft.com/office/drawing/2014/main" id="{7460FF67-E88C-345F-912C-69776540AF2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/>
              <a:t>Information Type:</a:t>
            </a:r>
            <a:br>
              <a:rPr lang="en-US" noProof="0"/>
            </a:br>
            <a:r>
              <a:rPr lang="en-US" noProof="0"/>
              <a:t>Company:  </a:t>
            </a:r>
            <a:br>
              <a:rPr lang="en-US" noProof="0"/>
            </a:br>
            <a:r>
              <a:rPr lang="en-US" noProof="0"/>
              <a:t>Information Owner:</a:t>
            </a:r>
          </a:p>
        </p:txBody>
      </p:sp>
      <p:pic>
        <p:nvPicPr>
          <p:cNvPr id="5" name="NTT DATA Global Logo">
            <a:extLst>
              <a:ext uri="{FF2B5EF4-FFF2-40B4-BE49-F238E27FC236}">
                <a16:creationId xmlns:a16="http://schemas.microsoft.com/office/drawing/2014/main" id="{2F900288-9276-0271-5B36-DA597F55D4E8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488771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_Cover_Light_Image Botto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4C066D7D-0D2A-E525-7A09-B865124FD30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3352800"/>
            <a:ext cx="12192000" cy="3505200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 marL="914400" indent="0">
              <a:buNone/>
              <a:defRPr>
                <a:noFill/>
              </a:defRPr>
            </a:lvl3pPr>
            <a:lvl4pPr marL="1371600" indent="0">
              <a:buNone/>
              <a:defRPr>
                <a:noFill/>
              </a:defRPr>
            </a:lvl4pPr>
            <a:lvl5pPr marL="1828800" indent="0">
              <a:buNone/>
              <a:defRPr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52800"/>
            <a:ext cx="12192000" cy="35096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image.</a:t>
            </a:r>
            <a:br>
              <a:rPr lang="en-US"/>
            </a:br>
            <a:r>
              <a:rPr lang="en-US"/>
              <a:t>Then Reorder: Send to back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84AF061-2BD7-B395-13B3-8F8BF41722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2050182"/>
            <a:ext cx="11449049" cy="6096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nter the subtitle text</a:t>
            </a:r>
          </a:p>
        </p:txBody>
      </p:sp>
      <p:sp>
        <p:nvSpPr>
          <p:cNvPr id="7" name="MainTitle">
            <a:extLst>
              <a:ext uri="{FF2B5EF4-FFF2-40B4-BE49-F238E27FC236}">
                <a16:creationId xmlns:a16="http://schemas.microsoft.com/office/drawing/2014/main" id="{6B8D68FD-3EFC-86B8-83A6-942558B1B3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412875"/>
            <a:ext cx="11449050" cy="651610"/>
          </a:xfrm>
        </p:spPr>
        <p:txBody>
          <a:bodyPr/>
          <a:lstStyle>
            <a:lvl1pPr>
              <a:defRPr sz="44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4" name="Innovation Curve Over">
            <a:extLst>
              <a:ext uri="{FF2B5EF4-FFF2-40B4-BE49-F238E27FC236}">
                <a16:creationId xmlns:a16="http://schemas.microsoft.com/office/drawing/2014/main" id="{0E296AC8-E4D5-3A7F-3C42-CC289AAB1E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67800" y="3733800"/>
            <a:ext cx="2741663" cy="27432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245BFAB-6256-BF35-C9F5-6D558800765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026140" y="3147301"/>
            <a:ext cx="794384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en-DE"/>
              <a:t>Date</a:t>
            </a:r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F45B6080-7233-0809-75A8-E904530DE0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3147301"/>
            <a:ext cx="5123498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pt-BR"/>
              <a:t>© 2023 NTT DATA Americas, Inc.</a:t>
            </a:r>
            <a:endParaRPr lang="en-US"/>
          </a:p>
        </p:txBody>
      </p:sp>
      <p:sp>
        <p:nvSpPr>
          <p:cNvPr id="2" name="Info box">
            <a:extLst>
              <a:ext uri="{FF2B5EF4-FFF2-40B4-BE49-F238E27FC236}">
                <a16:creationId xmlns:a16="http://schemas.microsoft.com/office/drawing/2014/main" id="{979EC8F5-DC72-37F6-85BB-C3ADC50D2DF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/>
              <a:t>Information Type:</a:t>
            </a:r>
            <a:br>
              <a:rPr lang="en-US" noProof="0"/>
            </a:br>
            <a:r>
              <a:rPr lang="en-US" noProof="0"/>
              <a:t>Company:  </a:t>
            </a:r>
            <a:br>
              <a:rPr lang="en-US" noProof="0"/>
            </a:br>
            <a:r>
              <a:rPr lang="en-US" noProof="0"/>
              <a:t>Information Owner:</a:t>
            </a:r>
          </a:p>
        </p:txBody>
      </p:sp>
      <p:pic>
        <p:nvPicPr>
          <p:cNvPr id="4" name="NTT DATA Global Logo">
            <a:extLst>
              <a:ext uri="{FF2B5EF4-FFF2-40B4-BE49-F238E27FC236}">
                <a16:creationId xmlns:a16="http://schemas.microsoft.com/office/drawing/2014/main" id="{93955C0C-38C4-366F-0C4D-7A71C122ED7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888578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0C3BB7C-B4A7-41A4-8C5A-903570B607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9C53063-1F58-BE27-2E94-7E00DE7726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pt-BR"/>
              <a:t>© 2023 NTT DATA Americas, Inc.</a:t>
            </a:r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F1EE05E-1EF3-FA88-09CC-87DB6B5818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630290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B4CF512-82E1-2689-F640-DDFFDD4CD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pt-BR"/>
              <a:t>© 2023 NTT DATA Americas, Inc.</a:t>
            </a:r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9ED1C7-0FF1-008B-4E0C-83259A7B61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60201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5507850" cy="48244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9A13345-D8EA-438A-8BA9-E88672B7CBE9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6311325" y="1412875"/>
            <a:ext cx="5507850" cy="48244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pt-BR"/>
              <a:t>© 2023 NTT DATA Americas, Inc.</a:t>
            </a:r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414629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and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pt-BR"/>
              <a:t>© 2023 NTT DATA Americas, Inc.</a:t>
            </a:r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26BC249-E151-BB39-D3D5-813D011EC4DE}"/>
              </a:ext>
            </a:extLst>
          </p:cNvPr>
          <p:cNvSpPr>
            <a:spLocks noGrp="1"/>
          </p:cNvSpPr>
          <p:nvPr>
            <p:ph idx="24" hasCustomPrompt="1"/>
          </p:nvPr>
        </p:nvSpPr>
        <p:spPr bwMode="gray">
          <a:xfrm>
            <a:off x="4267200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AB7751F-4652-AD3B-A81E-E9DD7E8ECF31}"/>
              </a:ext>
            </a:extLst>
          </p:cNvPr>
          <p:cNvSpPr>
            <a:spLocks noGrp="1"/>
          </p:cNvSpPr>
          <p:nvPr>
            <p:ph idx="25" hasCustomPrompt="1"/>
          </p:nvPr>
        </p:nvSpPr>
        <p:spPr bwMode="gray">
          <a:xfrm>
            <a:off x="816292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8056474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Subtitle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332399"/>
          </a:xfrm>
        </p:spPr>
        <p:txBody>
          <a:bodyPr vert="horz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4" y="1412875"/>
            <a:ext cx="11449049" cy="48244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pt-BR"/>
              <a:t>© 2023 NTT DATA Americas, Inc.</a:t>
            </a:r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9E5DDFBC-BBD8-FCF3-FDD5-BDAF7615B1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475" y="728663"/>
            <a:ext cx="11449050" cy="28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646397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Blank_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365873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Blank_Light with foo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BB093E97-7B76-EAE6-8B05-F60EEDCE94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pt-BR"/>
              <a:t>© 2023 NTT DATA Americas, Inc.</a:t>
            </a:r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C15EF50-5A96-90F8-F18A-9D8143A4FF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52765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2 Column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EA9222-DBBF-5953-8E15-DA10C04897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838200"/>
            <a:ext cx="11430000" cy="685800"/>
          </a:xfrm>
        </p:spPr>
        <p:txBody>
          <a:bodyPr>
            <a:noAutofit/>
          </a:bodyPr>
          <a:lstStyle>
            <a:lvl1pPr marL="0" indent="0">
              <a:buNone/>
              <a:defRPr lang="en-US" sz="2000" kern="120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62DF17-A1AB-7E8D-EC34-3A4A87B7B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45720" rIns="0" bIns="45720" rtlCol="0" anchor="t">
            <a:noAutofit/>
          </a:bodyPr>
          <a:lstStyle>
            <a:lvl1pPr>
              <a:defRPr lang="en-US"/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B3B26C9-4CC7-EA8C-EBD1-615FCBB4A9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400800"/>
            <a:ext cx="914400" cy="304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November 20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3161E99-54BE-C3A5-B54E-49B9C7224B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71600" y="6400800"/>
            <a:ext cx="4114800" cy="304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2023 NTT DATA, Inc. | NTT Ltd. and its affiliates are NTT DATA, Inc. companies.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16319C-85FE-4494-FC99-C4DE72E7B9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60D39823-8059-4D49-BD26-6D32C31B8621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568FE96-3E29-F907-5227-E6C308DA183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81000" y="1676400"/>
            <a:ext cx="5562600" cy="4572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E71A1A39-1496-229F-4AC6-886D7CFB5B2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48400" y="1676400"/>
            <a:ext cx="5562600" cy="4572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0056626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Full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0077599-73C2-4B77-944D-C34B64F408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/>
          </a:solidFill>
        </p:spPr>
        <p:txBody>
          <a:bodyPr anchor="ctr" anchorCtr="0"/>
          <a:lstStyle>
            <a:lvl1pPr algn="ctr">
              <a:defRPr sz="2000">
                <a:solidFill>
                  <a:srgbClr val="0072BC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473574-5E40-4F4B-82BD-ECFABA52E2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CCAE21C-42ED-4CFD-A1E1-FE234323EC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5194300"/>
            <a:ext cx="12192000" cy="1663700"/>
          </a:xfr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5F7F56A-370B-17D8-1574-7040765412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pt-BR"/>
              <a:t>© 2023 NTT DATA Americas, Inc.</a:t>
            </a:r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E04D86C-67F3-2898-A9B9-7C78B586F2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NTT DATA Global Logo" descr="NTT DATA Global Logo">
            <a:extLst>
              <a:ext uri="{FF2B5EF4-FFF2-40B4-BE49-F238E27FC236}">
                <a16:creationId xmlns:a16="http://schemas.microsoft.com/office/drawing/2014/main" id="{AAC9A100-4458-748B-AE62-3E3DB5DF4514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800" kern="1200">
                <a:noFill/>
                <a:latin typeface="+mn-lt"/>
                <a:ea typeface="+mn-ea"/>
                <a:cs typeface="+mn-cs"/>
              </a:defRPr>
            </a:lvl2pPr>
            <a:lvl3pPr marL="536575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3pPr>
            <a:lvl4pPr marL="804863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600" kern="1200">
                <a:noFill/>
                <a:latin typeface="+mn-lt"/>
                <a:ea typeface="+mn-ea"/>
                <a:cs typeface="+mn-cs"/>
              </a:defRPr>
            </a:lvl4pPr>
            <a:lvl5pPr marL="1077913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9273483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Righ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318A9578-38C1-F618-D2D6-E94DBB278B98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5340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6E0CB35-CBF9-AFA5-830C-F4D86F08897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153400" y="5202000"/>
            <a:ext cx="4038600" cy="1656000"/>
          </a:xfr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pt-BR"/>
              <a:t>© 2023 NTT DATA Americas, Inc.</a:t>
            </a:r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NTT DATA Global Logo" descr="NTT DATA Global Logo">
            <a:extLst>
              <a:ext uri="{FF2B5EF4-FFF2-40B4-BE49-F238E27FC236}">
                <a16:creationId xmlns:a16="http://schemas.microsoft.com/office/drawing/2014/main" id="{5082467D-38B1-0541-A8E7-DD846D36F5B1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800" kern="1200">
                <a:noFill/>
                <a:latin typeface="+mn-lt"/>
                <a:ea typeface="+mn-ea"/>
                <a:cs typeface="+mn-cs"/>
              </a:defRPr>
            </a:lvl2pPr>
            <a:lvl3pPr marL="536575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3pPr>
            <a:lvl4pPr marL="804863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600" kern="1200">
                <a:noFill/>
                <a:latin typeface="+mn-lt"/>
                <a:ea typeface="+mn-ea"/>
                <a:cs typeface="+mn-cs"/>
              </a:defRPr>
            </a:lvl4pPr>
            <a:lvl5pPr marL="1077913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975999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Lef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F7A191D-6071-E779-7F2E-34886D0882B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586909" y="333375"/>
            <a:ext cx="7233616" cy="79200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9629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A5DF90C5-2F99-EF32-CBEA-23287BDE244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338956" y="6563358"/>
            <a:ext cx="3524884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pt-BR"/>
              <a:t>© 2023 NTT DATA Americas, Inc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45867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Bottom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52800"/>
            <a:ext cx="12192000" cy="35096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image.</a:t>
            </a:r>
            <a:br>
              <a:rPr lang="en-US"/>
            </a:br>
            <a:r>
              <a:rPr lang="en-US"/>
              <a:t>Then Reorder: Send to back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008BF2A-3887-409B-2567-9779543E991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12192000" cy="1656000"/>
          </a:xfr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7A8D542-4123-5D52-32A8-5A10FF2E7D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pt-BR"/>
              <a:t>© 2023 NTT DATA Americas, Inc.</a:t>
            </a:r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F919FBB-9A4E-7FAD-B0F2-5D660792C3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itle 5">
            <a:extLst>
              <a:ext uri="{FF2B5EF4-FFF2-40B4-BE49-F238E27FC236}">
                <a16:creationId xmlns:a16="http://schemas.microsoft.com/office/drawing/2014/main" id="{685F5729-4D42-77C1-FCC6-A3E027B0D9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NTT DATA Global Logo" descr="NTT DATA Global Logo">
            <a:extLst>
              <a:ext uri="{FF2B5EF4-FFF2-40B4-BE49-F238E27FC236}">
                <a16:creationId xmlns:a16="http://schemas.microsoft.com/office/drawing/2014/main" id="{331DD0DE-B5CC-A60D-D998-80C96B7B6CAD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800" kern="1200">
                <a:noFill/>
                <a:latin typeface="+mn-lt"/>
                <a:ea typeface="+mn-ea"/>
                <a:cs typeface="+mn-cs"/>
              </a:defRPr>
            </a:lvl2pPr>
            <a:lvl3pPr marL="536575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3pPr>
            <a:lvl4pPr marL="804863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600" kern="1200">
                <a:noFill/>
                <a:latin typeface="+mn-lt"/>
                <a:ea typeface="+mn-ea"/>
                <a:cs typeface="+mn-cs"/>
              </a:defRPr>
            </a:lvl4pPr>
            <a:lvl5pPr marL="1077913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4372366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Pictures Thre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799AD32-EACB-40FD-ACFA-9178E8D0035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" y="1412875"/>
            <a:ext cx="4015999" cy="2772000"/>
          </a:xfr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C73D5620-2B8C-49E1-ADF3-9ADE2BF3BA3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88000" y="1412875"/>
            <a:ext cx="4015999" cy="2772000"/>
          </a:xfr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31D45D1-5334-4DD5-8154-DAD52B3C397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75999" y="1412875"/>
            <a:ext cx="4015999" cy="2772000"/>
          </a:xfr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pt-BR"/>
              <a:t>© 2023 NTT DATA Americas, Inc.</a:t>
            </a:r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89063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Collection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877779" y="3987605"/>
            <a:ext cx="5371355" cy="224968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95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Insert photo here</a:t>
            </a:r>
          </a:p>
        </p:txBody>
      </p:sp>
      <p:sp>
        <p:nvSpPr>
          <p:cNvPr id="13" name="Rounded Rectangl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349318" y="2163386"/>
            <a:ext cx="2484125" cy="2675053"/>
          </a:xfrm>
          <a:prstGeom prst="roundRect">
            <a:avLst>
              <a:gd name="adj" fmla="val 0"/>
            </a:avLst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6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71475" y="333373"/>
            <a:ext cx="4419959" cy="3547536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Insert photo here</a:t>
            </a:r>
          </a:p>
        </p:txBody>
      </p:sp>
      <p:sp>
        <p:nvSpPr>
          <p:cNvPr id="14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349318" y="2140170"/>
            <a:ext cx="2484124" cy="268069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Insert photo here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371475" y="2422522"/>
            <a:ext cx="4419959" cy="145838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902048" y="333375"/>
            <a:ext cx="4347085" cy="3555695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lIns="108000" anchor="ctr"/>
          <a:lstStyle>
            <a:lvl1pPr marL="0" indent="0" algn="l">
              <a:lnSpc>
                <a:spcPct val="100000"/>
              </a:lnSpc>
              <a:tabLst/>
              <a:defRPr sz="3200" b="1">
                <a:solidFill>
                  <a:schemeClr val="bg1"/>
                </a:solidFill>
                <a:effectLst/>
                <a:latin typeface="+mn-lt"/>
                <a:cs typeface="Arial"/>
              </a:defRPr>
            </a:lvl1pPr>
            <a:lvl2pPr marL="0" indent="0" algn="l">
              <a:lnSpc>
                <a:spcPct val="100000"/>
              </a:lnSpc>
              <a:defRPr>
                <a:solidFill>
                  <a:schemeClr val="bg1"/>
                </a:solidFill>
                <a:effectLst/>
                <a:latin typeface="+mn-lt"/>
                <a:cs typeface="Arial"/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359747" y="333375"/>
            <a:ext cx="2474100" cy="1700963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9359747" y="3744196"/>
            <a:ext cx="2474099" cy="107666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3987606"/>
            <a:ext cx="3420269" cy="2249682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lIns="108000" anchor="ctr"/>
          <a:lstStyle>
            <a:lvl1pPr algn="l">
              <a:lnSpc>
                <a:spcPct val="100000"/>
              </a:lnSpc>
              <a:defRPr sz="2667" b="1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tx2"/>
                </a:solidFill>
              </a:defRPr>
            </a:lvl2pPr>
            <a:lvl3pPr algn="l">
              <a:defRPr>
                <a:solidFill>
                  <a:schemeClr val="tx2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877779" y="5399590"/>
            <a:ext cx="5371355" cy="837698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9349318" y="4926695"/>
            <a:ext cx="2471207" cy="1310593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BA9505-91C7-B9FF-4651-787D86C3BED1}"/>
              </a:ext>
            </a:extLst>
          </p:cNvPr>
          <p:cNvSpPr txBox="1"/>
          <p:nvPr userDrawn="1"/>
        </p:nvSpPr>
        <p:spPr>
          <a:xfrm>
            <a:off x="3685309" y="-803564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err="1">
              <a:solidFill>
                <a:srgbClr val="FFFFFF"/>
              </a:solidFill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9C35B40-A84A-00D6-5FD3-6FD80F61E8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pt-BR"/>
              <a:t>© 2023 NTT DATA Americas, Inc.</a:t>
            </a:r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FC1EFC3-6CA1-181A-9D7F-24D4581B21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389988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Whi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NTT DATA Global Logo">
            <a:extLst>
              <a:ext uri="{FF2B5EF4-FFF2-40B4-BE49-F238E27FC236}">
                <a16:creationId xmlns:a16="http://schemas.microsoft.com/office/drawing/2014/main" id="{01F40004-0B55-0534-B49E-3160E9FA2E1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03287" y="2880000"/>
            <a:ext cx="5385427" cy="10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9832608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Future Blue with Picture Ligh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TT DATA Global Logo" descr="NTT DATA Global Logo">
            <a:extLst>
              <a:ext uri="{FF2B5EF4-FFF2-40B4-BE49-F238E27FC236}">
                <a16:creationId xmlns:a16="http://schemas.microsoft.com/office/drawing/2014/main" id="{98CC4E28-4615-54DE-9A23-19AE8504C324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 bwMode="black">
          <a:xfrm>
            <a:off x="3403200" y="2879266"/>
            <a:ext cx="5385600" cy="109946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FB17ABEB-CE11-6DFE-1EDF-82662ED8C95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image. Then reorder: Send to back</a:t>
            </a:r>
          </a:p>
        </p:txBody>
      </p:sp>
    </p:spTree>
    <p:extLst>
      <p:ext uri="{BB962C8B-B14F-4D97-AF65-F5344CB8AC3E}">
        <p14:creationId xmlns:p14="http://schemas.microsoft.com/office/powerpoint/2010/main" val="32647115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mage Lef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286000"/>
            <a:ext cx="7315200" cy="3951288"/>
          </a:xfrm>
        </p:spPr>
        <p:txBody>
          <a:bodyPr/>
          <a:lstStyle>
            <a:lvl1pPr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/>
              <a:t>Divider Page Text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#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CBAA2EA5-06E3-8691-22FA-AE783265C86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E201FA-14DE-26F5-5B59-34540918F7C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7D78CB3-8E2A-426A-73F0-19178ABAA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495800" y="6563358"/>
            <a:ext cx="320294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pt-BR"/>
              <a:t>© 2023 NTT DATA Americas, Inc.</a:t>
            </a:r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0D19329-B7C0-CE48-A2F3-05D87FD03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777162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589327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Curve on Right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2286000"/>
            <a:ext cx="7315200" cy="3886200"/>
          </a:xfrm>
        </p:spPr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/>
              <a:t>Divider Page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#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7D78CB3-8E2A-426A-73F0-19178ABAA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pt-BR"/>
              <a:t>© 2023 NTT DATA Americas, Inc.</a:t>
            </a:r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0D19329-B7C0-CE48-A2F3-05D87FD03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7" name="Picture 6">
            <a:extLst>
              <a:ext uri="{FF2B5EF4-FFF2-40B4-BE49-F238E27FC236}">
                <a16:creationId xmlns:a16="http://schemas.microsoft.com/office/drawing/2014/main" id="{8E54CF47-5670-1E36-A01C-CE6BD5FD4E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70773" y="2431973"/>
            <a:ext cx="3740227" cy="3740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50924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3 Column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568FE96-3E29-F907-5227-E6C308DA183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81000" y="1676400"/>
            <a:ext cx="3657600" cy="4572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E71A1A39-1496-229F-4AC6-886D7CFB5B2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67200" y="1676400"/>
            <a:ext cx="3657600" cy="4572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7">
            <a:extLst>
              <a:ext uri="{FF2B5EF4-FFF2-40B4-BE49-F238E27FC236}">
                <a16:creationId xmlns:a16="http://schemas.microsoft.com/office/drawing/2014/main" id="{ADFD2628-F803-8221-12EB-7198D350225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153400" y="1676400"/>
            <a:ext cx="3657600" cy="4572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EA9222-DBBF-5953-8E15-DA10C04897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838200"/>
            <a:ext cx="11430000" cy="685800"/>
          </a:xfrm>
        </p:spPr>
        <p:txBody>
          <a:bodyPr>
            <a:noAutofit/>
          </a:bodyPr>
          <a:lstStyle>
            <a:lvl1pPr marL="0" indent="0">
              <a:buNone/>
              <a:defRPr lang="en-US" sz="2000" kern="120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62DF17-A1AB-7E8D-EC34-3A4A87B7B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45720" rIns="0" bIns="45720" rtlCol="0" anchor="t">
            <a:noAutofit/>
          </a:bodyPr>
          <a:lstStyle>
            <a:lvl1pPr>
              <a:defRPr lang="en-US"/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B3B26C9-4CC7-EA8C-EBD1-615FCBB4A9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400800"/>
            <a:ext cx="914400" cy="304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November 20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3161E99-54BE-C3A5-B54E-49B9C7224B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71600" y="6400800"/>
            <a:ext cx="4114800" cy="304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2023 NTT DATA, Inc. | NTT Ltd. and its affiliates are NTT DATA, Inc. companies.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16319C-85FE-4494-FC99-C4DE72E7B9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60D39823-8059-4D49-BD26-6D32C31B8621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837426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 Curve Image Lef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725B5FD-E0E9-1E4B-5EFE-D46E0910A6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433116"/>
            <a:ext cx="7315200" cy="3739084"/>
          </a:xfrm>
        </p:spPr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/>
              <a:t>Divider Page</a:t>
            </a:r>
          </a:p>
        </p:txBody>
      </p:sp>
      <p:sp>
        <p:nvSpPr>
          <p:cNvPr id="12" name="Section Number">
            <a:extLst>
              <a:ext uri="{FF2B5EF4-FFF2-40B4-BE49-F238E27FC236}">
                <a16:creationId xmlns:a16="http://schemas.microsoft.com/office/drawing/2014/main" id="{4337322C-F1A6-A8D5-2662-80C365ECE1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#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795E080-1F31-4238-044C-F377C0E253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218376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pt-BR"/>
              <a:t>© 2023 NTT DATA Americas, Inc.</a:t>
            </a:r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ACFAEF6-C002-CEF8-D12E-35B10EFF2E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Picture 6">
            <a:extLst>
              <a:ext uri="{FF2B5EF4-FFF2-40B4-BE49-F238E27FC236}">
                <a16:creationId xmlns:a16="http://schemas.microsoft.com/office/drawing/2014/main" id="{AE44EF5E-6648-1398-B4E7-717D749EE9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575" y="2447060"/>
            <a:ext cx="3718800" cy="3718800"/>
          </a:xfrm>
          <a:prstGeom prst="rect">
            <a:avLst/>
          </a:prstGeom>
        </p:spPr>
      </p:pic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C74CB7FF-BF38-583F-EB84-775D76F699B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71475" y="2447060"/>
            <a:ext cx="3718800" cy="3718800"/>
          </a:xfrm>
          <a:custGeom>
            <a:avLst/>
            <a:gdLst>
              <a:gd name="connsiteX0" fmla="*/ 1704548 w 5267271"/>
              <a:gd name="connsiteY0" fmla="*/ 0 h 5272719"/>
              <a:gd name="connsiteX1" fmla="*/ 3527745 w 5267271"/>
              <a:gd name="connsiteY1" fmla="*/ 1774521 h 5272719"/>
              <a:gd name="connsiteX2" fmla="*/ 5267271 w 5267271"/>
              <a:gd name="connsiteY2" fmla="*/ 5269498 h 5272719"/>
              <a:gd name="connsiteX3" fmla="*/ 3509088 w 5267271"/>
              <a:gd name="connsiteY3" fmla="*/ 5269044 h 5272719"/>
              <a:gd name="connsiteX4" fmla="*/ 1794302 w 5267271"/>
              <a:gd name="connsiteY4" fmla="*/ 1858626 h 5272719"/>
              <a:gd name="connsiteX5" fmla="*/ 1794667 w 5267271"/>
              <a:gd name="connsiteY5" fmla="*/ 5270472 h 5272719"/>
              <a:gd name="connsiteX6" fmla="*/ 0 w 5267271"/>
              <a:gd name="connsiteY6" fmla="*/ 5272719 h 5272719"/>
              <a:gd name="connsiteX7" fmla="*/ 3384 w 5267271"/>
              <a:gd name="connsiteY7" fmla="*/ 1714773 h 5272719"/>
              <a:gd name="connsiteX8" fmla="*/ 569360 w 5267271"/>
              <a:gd name="connsiteY8" fmla="*/ 333790 h 5272719"/>
              <a:gd name="connsiteX9" fmla="*/ 1704548 w 5267271"/>
              <a:gd name="connsiteY9" fmla="*/ 0 h 5272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67271" h="5272719">
                <a:moveTo>
                  <a:pt x="1704548" y="0"/>
                </a:moveTo>
                <a:cubicBezTo>
                  <a:pt x="2442328" y="19929"/>
                  <a:pt x="2925708" y="438914"/>
                  <a:pt x="3527745" y="1774521"/>
                </a:cubicBezTo>
                <a:lnTo>
                  <a:pt x="5267271" y="5269498"/>
                </a:lnTo>
                <a:lnTo>
                  <a:pt x="3509088" y="5269044"/>
                </a:lnTo>
                <a:cubicBezTo>
                  <a:pt x="2932089" y="4085847"/>
                  <a:pt x="2376159" y="3052885"/>
                  <a:pt x="1794302" y="1858626"/>
                </a:cubicBezTo>
                <a:cubicBezTo>
                  <a:pt x="1800510" y="2806405"/>
                  <a:pt x="1797959" y="3550976"/>
                  <a:pt x="1794667" y="5270472"/>
                </a:cubicBezTo>
                <a:lnTo>
                  <a:pt x="0" y="5272719"/>
                </a:lnTo>
                <a:cubicBezTo>
                  <a:pt x="6041" y="3933998"/>
                  <a:pt x="-2660" y="3106972"/>
                  <a:pt x="3384" y="1714773"/>
                </a:cubicBezTo>
                <a:cubicBezTo>
                  <a:pt x="20552" y="931022"/>
                  <a:pt x="285832" y="562108"/>
                  <a:pt x="569360" y="333790"/>
                </a:cubicBezTo>
                <a:cubicBezTo>
                  <a:pt x="852888" y="105472"/>
                  <a:pt x="1272212" y="9538"/>
                  <a:pt x="1704548" y="0"/>
                </a:cubicBezTo>
                <a:close/>
              </a:path>
            </a:pathLst>
          </a:custGeom>
          <a:solidFill>
            <a:schemeClr val="accent6"/>
          </a:solidFill>
          <a:ln w="12700">
            <a:noFill/>
          </a:ln>
          <a:effectLst/>
        </p:spPr>
        <p:txBody>
          <a:bodyPr wrap="none" lIns="0" tIns="1371600" rIns="0" anchor="t">
            <a:noAutofit/>
          </a:bodyPr>
          <a:lstStyle>
            <a:lvl1pPr marL="0" indent="0" algn="ctr">
              <a:buFontTx/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406424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s - BF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タイトル 1"/>
          <p:cNvSpPr>
            <a:spLocks noGrp="1"/>
          </p:cNvSpPr>
          <p:nvPr>
            <p:ph type="title" hasCustomPrompt="1"/>
          </p:nvPr>
        </p:nvSpPr>
        <p:spPr>
          <a:xfrm>
            <a:off x="228601" y="228600"/>
            <a:ext cx="11734799" cy="533400"/>
          </a:xfrm>
          <a:prstGeom prst="rect">
            <a:avLst/>
          </a:prstGeom>
        </p:spPr>
        <p:txBody>
          <a:bodyPr lIns="91440" tIns="0" bIns="0" anchor="t" anchorCtr="0">
            <a:noAutofit/>
          </a:bodyPr>
          <a:lstStyle>
            <a:lvl1pPr>
              <a:defRPr lang="en-US" altLang="ja-JP" spc="0" dirty="0" smtClean="0">
                <a:solidFill>
                  <a:schemeClr val="tx1"/>
                </a:solidFill>
                <a:latin typeface="+mj-ea"/>
                <a:ea typeface="+mj-ea"/>
                <a:cs typeface="Arial"/>
              </a:defRPr>
            </a:lvl1pPr>
          </a:lstStyle>
          <a:p>
            <a:pPr marL="226468" marR="0" lvl="0" indent="-226468" latinLnBrk="0">
              <a:lnSpc>
                <a:spcPct val="100000"/>
              </a:lnSpc>
              <a:spcBef>
                <a:spcPct val="20000"/>
              </a:spcBef>
              <a:buClrTx/>
              <a:buSzTx/>
              <a:buFont typeface="+mj-lt"/>
              <a:buNone/>
              <a:tabLst/>
            </a:pPr>
            <a:r>
              <a:rPr kumimoji="1" lang="en-US" altLang="ja-JP"/>
              <a:t>[Title]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A6E617D-734F-4979-AA28-151FD13FA13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609555"/>
            <a:r>
              <a:rPr lang="en-US"/>
              <a:t>© 2023 NTT DATA Americas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48A4EEE-264C-42B7-9C67-2AF5171A4FA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C0E1A09D-4386-4027-B225-F549DC0B41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8601" y="1066800"/>
            <a:ext cx="11734799" cy="50292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6399040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80">
          <p15:clr>
            <a:srgbClr val="FBAE40"/>
          </p15:clr>
        </p15:guide>
        <p15:guide id="2" pos="144">
          <p15:clr>
            <a:srgbClr val="FBAE40"/>
          </p15:clr>
        </p15:guide>
        <p15:guide id="3" pos="7536">
          <p15:clr>
            <a:srgbClr val="FBAE40"/>
          </p15:clr>
        </p15:guide>
        <p15:guide id="4" orient="horz" pos="144">
          <p15:clr>
            <a:srgbClr val="FBAE40"/>
          </p15:clr>
        </p15:guide>
        <p15:guide id="6" pos="3840">
          <p15:clr>
            <a:srgbClr val="FBAE40"/>
          </p15:clr>
        </p15:guide>
        <p15:guide id="7" orient="horz" pos="3840">
          <p15:clr>
            <a:srgbClr val="FBAE40"/>
          </p15:clr>
        </p15:guide>
        <p15:guide id="8" orient="horz" pos="2256">
          <p15:clr>
            <a:srgbClr val="FBAE40"/>
          </p15:clr>
        </p15:guide>
        <p15:guide id="9" orient="horz" pos="672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テキスト プレースホルダー 9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" y="2902"/>
            <a:ext cx="11844000" cy="720000"/>
          </a:xfrm>
          <a:prstGeom prst="rect">
            <a:avLst/>
          </a:prstGeom>
        </p:spPr>
        <p:txBody>
          <a:bodyPr tIns="108000" anchor="ctr" anchorCtr="0">
            <a:normAutofit/>
          </a:bodyPr>
          <a:lstStyle>
            <a:lvl1pPr marL="0" indent="0">
              <a:buFont typeface="+mj-lt"/>
              <a:buNone/>
              <a:defRPr sz="2400" baseline="0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marL="226468" marR="0" lvl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73057990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09FEE01-6D38-4AFF-8E39-8403A0C9ED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BA91AD-94D7-45DB-9DC0-AA0B54CD6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875DB9-62CF-4691-983F-E0B1CA6CEB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C2FECC32-09FA-4F0A-99B9-53FF86115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2510304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  <p15:guide id="5" orient="horz" pos="288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タイトル 5">
            <a:extLst>
              <a:ext uri="{FF2B5EF4-FFF2-40B4-BE49-F238E27FC236}">
                <a16:creationId xmlns:a16="http://schemas.microsoft.com/office/drawing/2014/main" id="{740B46CC-2CF9-284F-9F56-02D00E754E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1" lang="en-US" altLang="ja-JP"/>
              <a:t>[Title]</a:t>
            </a:r>
            <a:endParaRPr kumimoji="1" lang="ja-JP" altLang="en-US"/>
          </a:p>
        </p:txBody>
      </p:sp>
      <p:sp>
        <p:nvSpPr>
          <p:cNvPr id="8" name="テキスト プレースホルダー 7">
            <a:extLst>
              <a:ext uri="{FF2B5EF4-FFF2-40B4-BE49-F238E27FC236}">
                <a16:creationId xmlns:a16="http://schemas.microsoft.com/office/drawing/2014/main" id="{7A82C159-A3E3-5C4A-85F2-522452EB1E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9" y="692151"/>
            <a:ext cx="11376026" cy="66929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>
                <a:latin typeface="+mn-lt"/>
                <a:ea typeface="+mn-ea"/>
              </a:defRPr>
            </a:lvl1pPr>
            <a:lvl2pPr>
              <a:defRPr>
                <a:latin typeface="+mn-lt"/>
                <a:ea typeface="+mn-ea"/>
              </a:defRPr>
            </a:lvl2pPr>
            <a:lvl3pPr>
              <a:defRPr>
                <a:latin typeface="+mn-lt"/>
                <a:ea typeface="+mn-ea"/>
              </a:defRPr>
            </a:lvl3pPr>
            <a:lvl4pPr>
              <a:defRPr>
                <a:latin typeface="+mn-lt"/>
                <a:ea typeface="+mn-ea"/>
              </a:defRPr>
            </a:lvl4pPr>
            <a:lvl5pPr>
              <a:defRPr>
                <a:latin typeface="+mn-lt"/>
                <a:ea typeface="+mn-ea"/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724677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49224E-6D9A-F20A-E95C-3BD86FD1C3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45720" rIns="0" bIns="45720" rtlCol="0" anchor="t">
            <a:noAutofit/>
          </a:bodyPr>
          <a:lstStyle>
            <a:lvl1pPr>
              <a:defRPr lang="en-US"/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5D3C075-3634-BEB1-AB31-623AD293F0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January 2024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657D48-2016-6562-8C30-A2CF18ED17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NTT DATA, Inc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51B9585-B814-96B8-821F-CFBD1EE522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62600" y="6400800"/>
            <a:ext cx="1066800" cy="304800"/>
          </a:xfrm>
          <a:prstGeom prst="rect">
            <a:avLst/>
          </a:prstGeom>
        </p:spPr>
        <p:txBody>
          <a:bodyPr/>
          <a:lstStyle/>
          <a:p>
            <a:pPr algn="ctr"/>
            <a:fld id="{60D39823-8059-4D49-BD26-6D32C31B8621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6436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コンテンツ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40804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663">
          <p15:clr>
            <a:srgbClr val="FBAE40"/>
          </p15:clr>
        </p15:guide>
        <p15:guide id="4" orient="horz" pos="73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ture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TT DATA Global Logo" descr="NTT DATA Global Logo">
            <a:extLst>
              <a:ext uri="{FF2B5EF4-FFF2-40B4-BE49-F238E27FC236}">
                <a16:creationId xmlns:a16="http://schemas.microsoft.com/office/drawing/2014/main" id="{2A4A4756-BF09-2DAA-9B2B-7274ADF973F2}"/>
              </a:ext>
            </a:extLst>
          </p:cNvPr>
          <p:cNvSpPr/>
          <p:nvPr userDrawn="1"/>
        </p:nvSpPr>
        <p:spPr bwMode="black">
          <a:xfrm>
            <a:off x="3403470" y="2880360"/>
            <a:ext cx="5385061" cy="1097280"/>
          </a:xfrm>
          <a:custGeom>
            <a:avLst/>
            <a:gdLst>
              <a:gd name="connsiteX0" fmla="*/ 9329240 w 10020924"/>
              <a:gd name="connsiteY0" fmla="*/ 1080290 h 2041903"/>
              <a:gd name="connsiteX1" fmla="*/ 9251983 w 10020924"/>
              <a:gd name="connsiteY1" fmla="*/ 1187029 h 2041903"/>
              <a:gd name="connsiteX2" fmla="*/ 9329240 w 10020924"/>
              <a:gd name="connsiteY2" fmla="*/ 1296468 h 2041903"/>
              <a:gd name="connsiteX3" fmla="*/ 9782722 w 10020924"/>
              <a:gd name="connsiteY3" fmla="*/ 1296468 h 2041903"/>
              <a:gd name="connsiteX4" fmla="*/ 9782722 w 10020924"/>
              <a:gd name="connsiteY4" fmla="*/ 1080290 h 2041903"/>
              <a:gd name="connsiteX5" fmla="*/ 7331825 w 10020924"/>
              <a:gd name="connsiteY5" fmla="*/ 1080290 h 2041903"/>
              <a:gd name="connsiteX6" fmla="*/ 7254583 w 10020924"/>
              <a:gd name="connsiteY6" fmla="*/ 1187029 h 2041903"/>
              <a:gd name="connsiteX7" fmla="*/ 7331825 w 10020924"/>
              <a:gd name="connsiteY7" fmla="*/ 1296468 h 2041903"/>
              <a:gd name="connsiteX8" fmla="*/ 7785307 w 10020924"/>
              <a:gd name="connsiteY8" fmla="*/ 1296468 h 2041903"/>
              <a:gd name="connsiteX9" fmla="*/ 7785307 w 10020924"/>
              <a:gd name="connsiteY9" fmla="*/ 1080290 h 2041903"/>
              <a:gd name="connsiteX10" fmla="*/ 6171264 w 10020924"/>
              <a:gd name="connsiteY10" fmla="*/ 689323 h 2041903"/>
              <a:gd name="connsiteX11" fmla="*/ 6171264 w 10020924"/>
              <a:gd name="connsiteY11" fmla="*/ 1297318 h 2041903"/>
              <a:gd name="connsiteX12" fmla="*/ 6558679 w 10020924"/>
              <a:gd name="connsiteY12" fmla="*/ 1297318 h 2041903"/>
              <a:gd name="connsiteX13" fmla="*/ 6679368 w 10020924"/>
              <a:gd name="connsiteY13" fmla="*/ 1156413 h 2041903"/>
              <a:gd name="connsiteX14" fmla="*/ 6679368 w 10020924"/>
              <a:gd name="connsiteY14" fmla="*/ 830244 h 2041903"/>
              <a:gd name="connsiteX15" fmla="*/ 6558679 w 10020924"/>
              <a:gd name="connsiteY15" fmla="*/ 689323 h 2041903"/>
              <a:gd name="connsiteX16" fmla="*/ 9072763 w 10020924"/>
              <a:gd name="connsiteY16" fmla="*/ 463851 h 2041903"/>
              <a:gd name="connsiteX17" fmla="*/ 9678449 w 10020924"/>
              <a:gd name="connsiteY17" fmla="*/ 463851 h 2041903"/>
              <a:gd name="connsiteX18" fmla="*/ 10020924 w 10020924"/>
              <a:gd name="connsiteY18" fmla="*/ 826574 h 2041903"/>
              <a:gd name="connsiteX19" fmla="*/ 10020924 w 10020924"/>
              <a:gd name="connsiteY19" fmla="*/ 1522671 h 2041903"/>
              <a:gd name="connsiteX20" fmla="*/ 9304207 w 10020924"/>
              <a:gd name="connsiteY20" fmla="*/ 1522671 h 2041903"/>
              <a:gd name="connsiteX21" fmla="*/ 9015771 w 10020924"/>
              <a:gd name="connsiteY21" fmla="*/ 1219793 h 2041903"/>
              <a:gd name="connsiteX22" fmla="*/ 9015771 w 10020924"/>
              <a:gd name="connsiteY22" fmla="*/ 1169781 h 2041903"/>
              <a:gd name="connsiteX23" fmla="*/ 9294061 w 10020924"/>
              <a:gd name="connsiteY23" fmla="*/ 866738 h 2041903"/>
              <a:gd name="connsiteX24" fmla="*/ 9782829 w 10020924"/>
              <a:gd name="connsiteY24" fmla="*/ 866738 h 2041903"/>
              <a:gd name="connsiteX25" fmla="*/ 9782707 w 10020924"/>
              <a:gd name="connsiteY25" fmla="*/ 829349 h 2041903"/>
              <a:gd name="connsiteX26" fmla="*/ 9662481 w 10020924"/>
              <a:gd name="connsiteY26" fmla="*/ 688428 h 2041903"/>
              <a:gd name="connsiteX27" fmla="*/ 9072763 w 10020924"/>
              <a:gd name="connsiteY27" fmla="*/ 688428 h 2041903"/>
              <a:gd name="connsiteX28" fmla="*/ 8071817 w 10020924"/>
              <a:gd name="connsiteY28" fmla="*/ 463851 h 2041903"/>
              <a:gd name="connsiteX29" fmla="*/ 8991911 w 10020924"/>
              <a:gd name="connsiteY29" fmla="*/ 463851 h 2041903"/>
              <a:gd name="connsiteX30" fmla="*/ 8991911 w 10020924"/>
              <a:gd name="connsiteY30" fmla="*/ 686668 h 2041903"/>
              <a:gd name="connsiteX31" fmla="*/ 8652240 w 10020924"/>
              <a:gd name="connsiteY31" fmla="*/ 686668 h 2041903"/>
              <a:gd name="connsiteX32" fmla="*/ 8652240 w 10020924"/>
              <a:gd name="connsiteY32" fmla="*/ 1522955 h 2041903"/>
              <a:gd name="connsiteX33" fmla="*/ 8411534 w 10020924"/>
              <a:gd name="connsiteY33" fmla="*/ 1522955 h 2041903"/>
              <a:gd name="connsiteX34" fmla="*/ 8411534 w 10020924"/>
              <a:gd name="connsiteY34" fmla="*/ 686668 h 2041903"/>
              <a:gd name="connsiteX35" fmla="*/ 8071817 w 10020924"/>
              <a:gd name="connsiteY35" fmla="*/ 686668 h 2041903"/>
              <a:gd name="connsiteX36" fmla="*/ 7075333 w 10020924"/>
              <a:gd name="connsiteY36" fmla="*/ 463851 h 2041903"/>
              <a:gd name="connsiteX37" fmla="*/ 7681075 w 10020924"/>
              <a:gd name="connsiteY37" fmla="*/ 463851 h 2041903"/>
              <a:gd name="connsiteX38" fmla="*/ 8023417 w 10020924"/>
              <a:gd name="connsiteY38" fmla="*/ 826574 h 2041903"/>
              <a:gd name="connsiteX39" fmla="*/ 8023417 w 10020924"/>
              <a:gd name="connsiteY39" fmla="*/ 1522671 h 2041903"/>
              <a:gd name="connsiteX40" fmla="*/ 7306759 w 10020924"/>
              <a:gd name="connsiteY40" fmla="*/ 1522671 h 2041903"/>
              <a:gd name="connsiteX41" fmla="*/ 7018293 w 10020924"/>
              <a:gd name="connsiteY41" fmla="*/ 1219793 h 2041903"/>
              <a:gd name="connsiteX42" fmla="*/ 7018293 w 10020924"/>
              <a:gd name="connsiteY42" fmla="*/ 1169781 h 2041903"/>
              <a:gd name="connsiteX43" fmla="*/ 7296628 w 10020924"/>
              <a:gd name="connsiteY43" fmla="*/ 866738 h 2041903"/>
              <a:gd name="connsiteX44" fmla="*/ 7785307 w 10020924"/>
              <a:gd name="connsiteY44" fmla="*/ 866738 h 2041903"/>
              <a:gd name="connsiteX45" fmla="*/ 7785307 w 10020924"/>
              <a:gd name="connsiteY45" fmla="*/ 829349 h 2041903"/>
              <a:gd name="connsiteX46" fmla="*/ 7665080 w 10020924"/>
              <a:gd name="connsiteY46" fmla="*/ 688428 h 2041903"/>
              <a:gd name="connsiteX47" fmla="*/ 7075333 w 10020924"/>
              <a:gd name="connsiteY47" fmla="*/ 688428 h 2041903"/>
              <a:gd name="connsiteX48" fmla="*/ 5930572 w 10020924"/>
              <a:gd name="connsiteY48" fmla="*/ 463851 h 2041903"/>
              <a:gd name="connsiteX49" fmla="*/ 6574718 w 10020924"/>
              <a:gd name="connsiteY49" fmla="*/ 463851 h 2041903"/>
              <a:gd name="connsiteX50" fmla="*/ 6925013 w 10020924"/>
              <a:gd name="connsiteY50" fmla="*/ 834884 h 2041903"/>
              <a:gd name="connsiteX51" fmla="*/ 6925013 w 10020924"/>
              <a:gd name="connsiteY51" fmla="*/ 1151743 h 2041903"/>
              <a:gd name="connsiteX52" fmla="*/ 6585968 w 10020924"/>
              <a:gd name="connsiteY52" fmla="*/ 1522671 h 2041903"/>
              <a:gd name="connsiteX53" fmla="*/ 5930572 w 10020924"/>
              <a:gd name="connsiteY53" fmla="*/ 1522671 h 2041903"/>
              <a:gd name="connsiteX54" fmla="*/ 4717895 w 10020924"/>
              <a:gd name="connsiteY54" fmla="*/ 463851 h 2041903"/>
              <a:gd name="connsiteX55" fmla="*/ 5638093 w 10020924"/>
              <a:gd name="connsiteY55" fmla="*/ 463851 h 2041903"/>
              <a:gd name="connsiteX56" fmla="*/ 5638093 w 10020924"/>
              <a:gd name="connsiteY56" fmla="*/ 686668 h 2041903"/>
              <a:gd name="connsiteX57" fmla="*/ 5298318 w 10020924"/>
              <a:gd name="connsiteY57" fmla="*/ 686668 h 2041903"/>
              <a:gd name="connsiteX58" fmla="*/ 5298318 w 10020924"/>
              <a:gd name="connsiteY58" fmla="*/ 1522955 h 2041903"/>
              <a:gd name="connsiteX59" fmla="*/ 5057626 w 10020924"/>
              <a:gd name="connsiteY59" fmla="*/ 1522955 h 2041903"/>
              <a:gd name="connsiteX60" fmla="*/ 5057626 w 10020924"/>
              <a:gd name="connsiteY60" fmla="*/ 686668 h 2041903"/>
              <a:gd name="connsiteX61" fmla="*/ 4717895 w 10020924"/>
              <a:gd name="connsiteY61" fmla="*/ 686668 h 2041903"/>
              <a:gd name="connsiteX62" fmla="*/ 3721291 w 10020924"/>
              <a:gd name="connsiteY62" fmla="*/ 463851 h 2041903"/>
              <a:gd name="connsiteX63" fmla="*/ 4641430 w 10020924"/>
              <a:gd name="connsiteY63" fmla="*/ 463851 h 2041903"/>
              <a:gd name="connsiteX64" fmla="*/ 4641430 w 10020924"/>
              <a:gd name="connsiteY64" fmla="*/ 686668 h 2041903"/>
              <a:gd name="connsiteX65" fmla="*/ 4301654 w 10020924"/>
              <a:gd name="connsiteY65" fmla="*/ 686668 h 2041903"/>
              <a:gd name="connsiteX66" fmla="*/ 4301654 w 10020924"/>
              <a:gd name="connsiteY66" fmla="*/ 1522955 h 2041903"/>
              <a:gd name="connsiteX67" fmla="*/ 4061067 w 10020924"/>
              <a:gd name="connsiteY67" fmla="*/ 1522955 h 2041903"/>
              <a:gd name="connsiteX68" fmla="*/ 4061067 w 10020924"/>
              <a:gd name="connsiteY68" fmla="*/ 686668 h 2041903"/>
              <a:gd name="connsiteX69" fmla="*/ 3721291 w 10020924"/>
              <a:gd name="connsiteY69" fmla="*/ 686668 h 2041903"/>
              <a:gd name="connsiteX70" fmla="*/ 2809822 w 10020924"/>
              <a:gd name="connsiteY70" fmla="*/ 452019 h 2041903"/>
              <a:gd name="connsiteX71" fmla="*/ 3016077 w 10020924"/>
              <a:gd name="connsiteY71" fmla="*/ 572753 h 2041903"/>
              <a:gd name="connsiteX72" fmla="*/ 3381948 w 10020924"/>
              <a:gd name="connsiteY72" fmla="*/ 1270566 h 2041903"/>
              <a:gd name="connsiteX73" fmla="*/ 3400240 w 10020924"/>
              <a:gd name="connsiteY73" fmla="*/ 1281756 h 2041903"/>
              <a:gd name="connsiteX74" fmla="*/ 3406134 w 10020924"/>
              <a:gd name="connsiteY74" fmla="*/ 1255736 h 2041903"/>
              <a:gd name="connsiteX75" fmla="*/ 3402657 w 10020924"/>
              <a:gd name="connsiteY75" fmla="*/ 1123946 h 2041903"/>
              <a:gd name="connsiteX76" fmla="*/ 3402657 w 10020924"/>
              <a:gd name="connsiteY76" fmla="*/ 463522 h 2041903"/>
              <a:gd name="connsiteX77" fmla="*/ 3639813 w 10020924"/>
              <a:gd name="connsiteY77" fmla="*/ 463522 h 2041903"/>
              <a:gd name="connsiteX78" fmla="*/ 3639813 w 10020924"/>
              <a:gd name="connsiteY78" fmla="*/ 1255333 h 2041903"/>
              <a:gd name="connsiteX79" fmla="*/ 3425426 w 10020924"/>
              <a:gd name="connsiteY79" fmla="*/ 1534727 h 2041903"/>
              <a:gd name="connsiteX80" fmla="*/ 3219125 w 10020924"/>
              <a:gd name="connsiteY80" fmla="*/ 1413949 h 2041903"/>
              <a:gd name="connsiteX81" fmla="*/ 2853165 w 10020924"/>
              <a:gd name="connsiteY81" fmla="*/ 716135 h 2041903"/>
              <a:gd name="connsiteX82" fmla="*/ 2834887 w 10020924"/>
              <a:gd name="connsiteY82" fmla="*/ 704930 h 2041903"/>
              <a:gd name="connsiteX83" fmla="*/ 2829009 w 10020924"/>
              <a:gd name="connsiteY83" fmla="*/ 730980 h 2041903"/>
              <a:gd name="connsiteX84" fmla="*/ 2832590 w 10020924"/>
              <a:gd name="connsiteY84" fmla="*/ 862725 h 2041903"/>
              <a:gd name="connsiteX85" fmla="*/ 2832590 w 10020924"/>
              <a:gd name="connsiteY85" fmla="*/ 1523194 h 2041903"/>
              <a:gd name="connsiteX86" fmla="*/ 2595360 w 10020924"/>
              <a:gd name="connsiteY86" fmla="*/ 1523194 h 2041903"/>
              <a:gd name="connsiteX87" fmla="*/ 2595360 w 10020924"/>
              <a:gd name="connsiteY87" fmla="*/ 731368 h 2041903"/>
              <a:gd name="connsiteX88" fmla="*/ 2809822 w 10020924"/>
              <a:gd name="connsiteY88" fmla="*/ 452019 h 2041903"/>
              <a:gd name="connsiteX89" fmla="*/ 1079247 w 10020924"/>
              <a:gd name="connsiteY89" fmla="*/ 330967 h 2041903"/>
              <a:gd name="connsiteX90" fmla="*/ 952084 w 10020924"/>
              <a:gd name="connsiteY90" fmla="*/ 465588 h 2041903"/>
              <a:gd name="connsiteX91" fmla="*/ 887125 w 10020924"/>
              <a:gd name="connsiteY91" fmla="*/ 684091 h 2041903"/>
              <a:gd name="connsiteX92" fmla="*/ 940315 w 10020924"/>
              <a:gd name="connsiteY92" fmla="*/ 833769 h 2041903"/>
              <a:gd name="connsiteX93" fmla="*/ 1079206 w 10020924"/>
              <a:gd name="connsiteY93" fmla="*/ 894946 h 2041903"/>
              <a:gd name="connsiteX94" fmla="*/ 1218097 w 10020924"/>
              <a:gd name="connsiteY94" fmla="*/ 833769 h 2041903"/>
              <a:gd name="connsiteX95" fmla="*/ 1271286 w 10020924"/>
              <a:gd name="connsiteY95" fmla="*/ 684091 h 2041903"/>
              <a:gd name="connsiteX96" fmla="*/ 1206328 w 10020924"/>
              <a:gd name="connsiteY96" fmla="*/ 465588 h 2041903"/>
              <a:gd name="connsiteX97" fmla="*/ 1079247 w 10020924"/>
              <a:gd name="connsiteY97" fmla="*/ 330967 h 2041903"/>
              <a:gd name="connsiteX98" fmla="*/ 805966 w 10020924"/>
              <a:gd name="connsiteY98" fmla="*/ 263259 h 2041903"/>
              <a:gd name="connsiteX99" fmla="*/ 446364 w 10020924"/>
              <a:gd name="connsiteY99" fmla="*/ 449558 h 2041903"/>
              <a:gd name="connsiteX100" fmla="*/ 316290 w 10020924"/>
              <a:gd name="connsiteY100" fmla="*/ 671430 h 2041903"/>
              <a:gd name="connsiteX101" fmla="*/ 265280 w 10020924"/>
              <a:gd name="connsiteY101" fmla="*/ 958605 h 2041903"/>
              <a:gd name="connsiteX102" fmla="*/ 329833 w 10020924"/>
              <a:gd name="connsiteY102" fmla="*/ 1280240 h 2041903"/>
              <a:gd name="connsiteX103" fmla="*/ 505249 w 10020924"/>
              <a:gd name="connsiteY103" fmla="*/ 1539802 h 2041903"/>
              <a:gd name="connsiteX104" fmla="*/ 764163 w 10020924"/>
              <a:gd name="connsiteY104" fmla="*/ 1713204 h 2041903"/>
              <a:gd name="connsiteX105" fmla="*/ 1079208 w 10020924"/>
              <a:gd name="connsiteY105" fmla="*/ 1776358 h 2041903"/>
              <a:gd name="connsiteX106" fmla="*/ 1394254 w 10020924"/>
              <a:gd name="connsiteY106" fmla="*/ 1713204 h 2041903"/>
              <a:gd name="connsiteX107" fmla="*/ 1653167 w 10020924"/>
              <a:gd name="connsiteY107" fmla="*/ 1539802 h 2041903"/>
              <a:gd name="connsiteX108" fmla="*/ 1828584 w 10020924"/>
              <a:gd name="connsiteY108" fmla="*/ 1280240 h 2041903"/>
              <a:gd name="connsiteX109" fmla="*/ 1893137 w 10020924"/>
              <a:gd name="connsiteY109" fmla="*/ 958605 h 2041903"/>
              <a:gd name="connsiteX110" fmla="*/ 1843297 w 10020924"/>
              <a:gd name="connsiteY110" fmla="*/ 674433 h 2041903"/>
              <a:gd name="connsiteX111" fmla="*/ 1715171 w 10020924"/>
              <a:gd name="connsiteY111" fmla="*/ 452650 h 2041903"/>
              <a:gd name="connsiteX112" fmla="*/ 1352451 w 10020924"/>
              <a:gd name="connsiteY112" fmla="*/ 263259 h 2041903"/>
              <a:gd name="connsiteX113" fmla="*/ 1489332 w 10020924"/>
              <a:gd name="connsiteY113" fmla="*/ 469668 h 2041903"/>
              <a:gd name="connsiteX114" fmla="*/ 1533501 w 10020924"/>
              <a:gd name="connsiteY114" fmla="*/ 697463 h 2041903"/>
              <a:gd name="connsiteX115" fmla="*/ 1395669 w 10020924"/>
              <a:gd name="connsiteY115" fmla="*/ 1031243 h 2041903"/>
              <a:gd name="connsiteX116" fmla="*/ 1079208 w 10020924"/>
              <a:gd name="connsiteY116" fmla="*/ 1160853 h 2041903"/>
              <a:gd name="connsiteX117" fmla="*/ 762748 w 10020924"/>
              <a:gd name="connsiteY117" fmla="*/ 1031243 h 2041903"/>
              <a:gd name="connsiteX118" fmla="*/ 624916 w 10020924"/>
              <a:gd name="connsiteY118" fmla="*/ 697463 h 2041903"/>
              <a:gd name="connsiteX119" fmla="*/ 673201 w 10020924"/>
              <a:gd name="connsiteY119" fmla="*/ 463015 h 2041903"/>
              <a:gd name="connsiteX120" fmla="*/ 805966 w 10020924"/>
              <a:gd name="connsiteY120" fmla="*/ 263259 h 2041903"/>
              <a:gd name="connsiteX121" fmla="*/ 817834 w 10020924"/>
              <a:gd name="connsiteY121" fmla="*/ 0 h 2041903"/>
              <a:gd name="connsiteX122" fmla="*/ 963091 w 10020924"/>
              <a:gd name="connsiteY122" fmla="*/ 14770 h 2041903"/>
              <a:gd name="connsiteX123" fmla="*/ 1079167 w 10020924"/>
              <a:gd name="connsiteY123" fmla="*/ 48893 h 2041903"/>
              <a:gd name="connsiteX124" fmla="*/ 1194646 w 10020924"/>
              <a:gd name="connsiteY124" fmla="*/ 14436 h 2041903"/>
              <a:gd name="connsiteX125" fmla="*/ 1340583 w 10020924"/>
              <a:gd name="connsiteY125" fmla="*/ 0 h 2041903"/>
              <a:gd name="connsiteX126" fmla="*/ 1649693 w 10020924"/>
              <a:gd name="connsiteY126" fmla="*/ 72213 h 2041903"/>
              <a:gd name="connsiteX127" fmla="*/ 1910677 w 10020924"/>
              <a:gd name="connsiteY127" fmla="*/ 272891 h 2041903"/>
              <a:gd name="connsiteX128" fmla="*/ 2091072 w 10020924"/>
              <a:gd name="connsiteY128" fmla="*/ 578096 h 2041903"/>
              <a:gd name="connsiteX129" fmla="*/ 2158417 w 10020924"/>
              <a:gd name="connsiteY129" fmla="*/ 963886 h 2041903"/>
              <a:gd name="connsiteX130" fmla="*/ 2071704 w 10020924"/>
              <a:gd name="connsiteY130" fmla="*/ 1388805 h 2041903"/>
              <a:gd name="connsiteX131" fmla="*/ 1837251 w 10020924"/>
              <a:gd name="connsiteY131" fmla="*/ 1730875 h 2041903"/>
              <a:gd name="connsiteX132" fmla="*/ 1493585 w 10020924"/>
              <a:gd name="connsiteY132" fmla="*/ 1958956 h 2041903"/>
              <a:gd name="connsiteX133" fmla="*/ 1079208 w 10020924"/>
              <a:gd name="connsiteY133" fmla="*/ 2041903 h 2041903"/>
              <a:gd name="connsiteX134" fmla="*/ 664832 w 10020924"/>
              <a:gd name="connsiteY134" fmla="*/ 1958956 h 2041903"/>
              <a:gd name="connsiteX135" fmla="*/ 321166 w 10020924"/>
              <a:gd name="connsiteY135" fmla="*/ 1730875 h 2041903"/>
              <a:gd name="connsiteX136" fmla="*/ 86713 w 10020924"/>
              <a:gd name="connsiteY136" fmla="*/ 1388805 h 2041903"/>
              <a:gd name="connsiteX137" fmla="*/ 0 w 10020924"/>
              <a:gd name="connsiteY137" fmla="*/ 963886 h 2041903"/>
              <a:gd name="connsiteX138" fmla="*/ 67345 w 10020924"/>
              <a:gd name="connsiteY138" fmla="*/ 578096 h 2041903"/>
              <a:gd name="connsiteX139" fmla="*/ 247740 w 10020924"/>
              <a:gd name="connsiteY139" fmla="*/ 272891 h 2041903"/>
              <a:gd name="connsiteX140" fmla="*/ 508723 w 10020924"/>
              <a:gd name="connsiteY140" fmla="*/ 72213 h 2041903"/>
              <a:gd name="connsiteX141" fmla="*/ 817834 w 10020924"/>
              <a:gd name="connsiteY141" fmla="*/ 0 h 2041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10020924" h="2041903">
                <a:moveTo>
                  <a:pt x="9329240" y="1080290"/>
                </a:moveTo>
                <a:cubicBezTo>
                  <a:pt x="9292358" y="1080290"/>
                  <a:pt x="9251983" y="1096116"/>
                  <a:pt x="9251983" y="1187029"/>
                </a:cubicBezTo>
                <a:cubicBezTo>
                  <a:pt x="9251983" y="1277880"/>
                  <a:pt x="9292801" y="1296468"/>
                  <a:pt x="9329240" y="1296468"/>
                </a:cubicBezTo>
                <a:lnTo>
                  <a:pt x="9782722" y="1296468"/>
                </a:lnTo>
                <a:lnTo>
                  <a:pt x="9782722" y="1080290"/>
                </a:lnTo>
                <a:close/>
                <a:moveTo>
                  <a:pt x="7331825" y="1080290"/>
                </a:moveTo>
                <a:cubicBezTo>
                  <a:pt x="7294927" y="1080290"/>
                  <a:pt x="7254583" y="1096116"/>
                  <a:pt x="7254583" y="1187029"/>
                </a:cubicBezTo>
                <a:cubicBezTo>
                  <a:pt x="7254583" y="1277880"/>
                  <a:pt x="7295379" y="1296468"/>
                  <a:pt x="7331825" y="1296468"/>
                </a:cubicBezTo>
                <a:lnTo>
                  <a:pt x="7785307" y="1296468"/>
                </a:lnTo>
                <a:lnTo>
                  <a:pt x="7785307" y="1080290"/>
                </a:lnTo>
                <a:close/>
                <a:moveTo>
                  <a:pt x="6171264" y="689323"/>
                </a:moveTo>
                <a:lnTo>
                  <a:pt x="6171264" y="1297318"/>
                </a:lnTo>
                <a:lnTo>
                  <a:pt x="6558679" y="1297318"/>
                </a:lnTo>
                <a:cubicBezTo>
                  <a:pt x="6645146" y="1297318"/>
                  <a:pt x="6679368" y="1257837"/>
                  <a:pt x="6679368" y="1156413"/>
                </a:cubicBezTo>
                <a:lnTo>
                  <a:pt x="6679368" y="830244"/>
                </a:lnTo>
                <a:cubicBezTo>
                  <a:pt x="6679368" y="728827"/>
                  <a:pt x="6645146" y="689323"/>
                  <a:pt x="6558679" y="689323"/>
                </a:cubicBezTo>
                <a:close/>
                <a:moveTo>
                  <a:pt x="9072763" y="463851"/>
                </a:moveTo>
                <a:lnTo>
                  <a:pt x="9678449" y="463851"/>
                </a:lnTo>
                <a:cubicBezTo>
                  <a:pt x="9932730" y="463851"/>
                  <a:pt x="10020924" y="559816"/>
                  <a:pt x="10020924" y="826574"/>
                </a:cubicBezTo>
                <a:lnTo>
                  <a:pt x="10020924" y="1522671"/>
                </a:lnTo>
                <a:lnTo>
                  <a:pt x="9304207" y="1522671"/>
                </a:lnTo>
                <a:cubicBezTo>
                  <a:pt x="9111641" y="1522671"/>
                  <a:pt x="9015771" y="1435849"/>
                  <a:pt x="9015771" y="1219793"/>
                </a:cubicBezTo>
                <a:lnTo>
                  <a:pt x="9015771" y="1169781"/>
                </a:lnTo>
                <a:cubicBezTo>
                  <a:pt x="9015771" y="959714"/>
                  <a:pt x="9108248" y="866738"/>
                  <a:pt x="9294061" y="866738"/>
                </a:cubicBezTo>
                <a:lnTo>
                  <a:pt x="9782829" y="866738"/>
                </a:lnTo>
                <a:cubicBezTo>
                  <a:pt x="9782829" y="858122"/>
                  <a:pt x="9782707" y="829861"/>
                  <a:pt x="9782707" y="829349"/>
                </a:cubicBezTo>
                <a:cubicBezTo>
                  <a:pt x="9782707" y="727955"/>
                  <a:pt x="9749047" y="688428"/>
                  <a:pt x="9662481" y="688428"/>
                </a:cubicBezTo>
                <a:lnTo>
                  <a:pt x="9072763" y="688428"/>
                </a:lnTo>
                <a:close/>
                <a:moveTo>
                  <a:pt x="8071817" y="463851"/>
                </a:moveTo>
                <a:lnTo>
                  <a:pt x="8991911" y="463851"/>
                </a:lnTo>
                <a:lnTo>
                  <a:pt x="8991911" y="686668"/>
                </a:lnTo>
                <a:lnTo>
                  <a:pt x="8652240" y="686668"/>
                </a:lnTo>
                <a:lnTo>
                  <a:pt x="8652240" y="1522955"/>
                </a:lnTo>
                <a:lnTo>
                  <a:pt x="8411534" y="1522955"/>
                </a:lnTo>
                <a:lnTo>
                  <a:pt x="8411534" y="686668"/>
                </a:lnTo>
                <a:lnTo>
                  <a:pt x="8071817" y="686668"/>
                </a:lnTo>
                <a:close/>
                <a:moveTo>
                  <a:pt x="7075333" y="463851"/>
                </a:moveTo>
                <a:lnTo>
                  <a:pt x="7681075" y="463851"/>
                </a:lnTo>
                <a:cubicBezTo>
                  <a:pt x="7935303" y="463851"/>
                  <a:pt x="8023424" y="559816"/>
                  <a:pt x="8023417" y="826574"/>
                </a:cubicBezTo>
                <a:lnTo>
                  <a:pt x="8023417" y="1522671"/>
                </a:lnTo>
                <a:lnTo>
                  <a:pt x="7306759" y="1522671"/>
                </a:lnTo>
                <a:cubicBezTo>
                  <a:pt x="7114170" y="1522671"/>
                  <a:pt x="7018293" y="1435849"/>
                  <a:pt x="7018293" y="1219793"/>
                </a:cubicBezTo>
                <a:lnTo>
                  <a:pt x="7018293" y="1169781"/>
                </a:lnTo>
                <a:cubicBezTo>
                  <a:pt x="7018293" y="959714"/>
                  <a:pt x="7110792" y="866738"/>
                  <a:pt x="7296628" y="866738"/>
                </a:cubicBezTo>
                <a:lnTo>
                  <a:pt x="7785307" y="866738"/>
                </a:lnTo>
                <a:lnTo>
                  <a:pt x="7785307" y="829349"/>
                </a:lnTo>
                <a:cubicBezTo>
                  <a:pt x="7785307" y="727955"/>
                  <a:pt x="7751547" y="688428"/>
                  <a:pt x="7665080" y="688428"/>
                </a:cubicBezTo>
                <a:lnTo>
                  <a:pt x="7075333" y="688428"/>
                </a:lnTo>
                <a:close/>
                <a:moveTo>
                  <a:pt x="5930572" y="463851"/>
                </a:moveTo>
                <a:lnTo>
                  <a:pt x="6574718" y="463851"/>
                </a:lnTo>
                <a:cubicBezTo>
                  <a:pt x="6817412" y="463851"/>
                  <a:pt x="6925013" y="557409"/>
                  <a:pt x="6925013" y="834884"/>
                </a:cubicBezTo>
                <a:lnTo>
                  <a:pt x="6925013" y="1151743"/>
                </a:lnTo>
                <a:cubicBezTo>
                  <a:pt x="6925013" y="1394650"/>
                  <a:pt x="6843589" y="1522671"/>
                  <a:pt x="6585968" y="1522671"/>
                </a:cubicBezTo>
                <a:lnTo>
                  <a:pt x="5930572" y="1522671"/>
                </a:lnTo>
                <a:close/>
                <a:moveTo>
                  <a:pt x="4717895" y="463851"/>
                </a:moveTo>
                <a:lnTo>
                  <a:pt x="5638093" y="463851"/>
                </a:lnTo>
                <a:lnTo>
                  <a:pt x="5638093" y="686668"/>
                </a:lnTo>
                <a:lnTo>
                  <a:pt x="5298318" y="686668"/>
                </a:lnTo>
                <a:lnTo>
                  <a:pt x="5298318" y="1522955"/>
                </a:lnTo>
                <a:lnTo>
                  <a:pt x="5057626" y="1522955"/>
                </a:lnTo>
                <a:lnTo>
                  <a:pt x="5057626" y="686668"/>
                </a:lnTo>
                <a:lnTo>
                  <a:pt x="4717895" y="686668"/>
                </a:lnTo>
                <a:close/>
                <a:moveTo>
                  <a:pt x="3721291" y="463851"/>
                </a:moveTo>
                <a:lnTo>
                  <a:pt x="4641430" y="463851"/>
                </a:lnTo>
                <a:lnTo>
                  <a:pt x="4641430" y="686668"/>
                </a:lnTo>
                <a:lnTo>
                  <a:pt x="4301654" y="686668"/>
                </a:lnTo>
                <a:lnTo>
                  <a:pt x="4301654" y="1522955"/>
                </a:lnTo>
                <a:lnTo>
                  <a:pt x="4061067" y="1522955"/>
                </a:lnTo>
                <a:lnTo>
                  <a:pt x="4061067" y="686668"/>
                </a:lnTo>
                <a:lnTo>
                  <a:pt x="3721291" y="686668"/>
                </a:lnTo>
                <a:close/>
                <a:moveTo>
                  <a:pt x="2809822" y="452019"/>
                </a:moveTo>
                <a:cubicBezTo>
                  <a:pt x="2915562" y="452019"/>
                  <a:pt x="2970732" y="501487"/>
                  <a:pt x="3016077" y="572753"/>
                </a:cubicBezTo>
                <a:cubicBezTo>
                  <a:pt x="3055320" y="634446"/>
                  <a:pt x="3376830" y="1260842"/>
                  <a:pt x="3381948" y="1270566"/>
                </a:cubicBezTo>
                <a:cubicBezTo>
                  <a:pt x="3386677" y="1279328"/>
                  <a:pt x="3393442" y="1285729"/>
                  <a:pt x="3400240" y="1281756"/>
                </a:cubicBezTo>
                <a:cubicBezTo>
                  <a:pt x="3406237" y="1278349"/>
                  <a:pt x="3406646" y="1267378"/>
                  <a:pt x="3406134" y="1255736"/>
                </a:cubicBezTo>
                <a:cubicBezTo>
                  <a:pt x="3405492" y="1241619"/>
                  <a:pt x="3402657" y="1171378"/>
                  <a:pt x="3402657" y="1123946"/>
                </a:cubicBezTo>
                <a:lnTo>
                  <a:pt x="3402657" y="463522"/>
                </a:lnTo>
                <a:lnTo>
                  <a:pt x="3639813" y="463522"/>
                </a:lnTo>
                <a:lnTo>
                  <a:pt x="3639813" y="1255333"/>
                </a:lnTo>
                <a:cubicBezTo>
                  <a:pt x="3639813" y="1491113"/>
                  <a:pt x="3523557" y="1534727"/>
                  <a:pt x="3425426" y="1534727"/>
                </a:cubicBezTo>
                <a:cubicBezTo>
                  <a:pt x="3319670" y="1534727"/>
                  <a:pt x="3264509" y="1485221"/>
                  <a:pt x="3219125" y="1413949"/>
                </a:cubicBezTo>
                <a:cubicBezTo>
                  <a:pt x="3155813" y="1314503"/>
                  <a:pt x="2857763" y="724966"/>
                  <a:pt x="2853165" y="716135"/>
                </a:cubicBezTo>
                <a:cubicBezTo>
                  <a:pt x="2848558" y="707335"/>
                  <a:pt x="2841793" y="701034"/>
                  <a:pt x="2834887" y="704930"/>
                </a:cubicBezTo>
                <a:cubicBezTo>
                  <a:pt x="2829005" y="708344"/>
                  <a:pt x="2828497" y="719338"/>
                  <a:pt x="2829009" y="730980"/>
                </a:cubicBezTo>
                <a:cubicBezTo>
                  <a:pt x="2829628" y="745090"/>
                  <a:pt x="2832590" y="815378"/>
                  <a:pt x="2832590" y="862725"/>
                </a:cubicBezTo>
                <a:lnTo>
                  <a:pt x="2832590" y="1523194"/>
                </a:lnTo>
                <a:lnTo>
                  <a:pt x="2595360" y="1523194"/>
                </a:lnTo>
                <a:lnTo>
                  <a:pt x="2595360" y="731368"/>
                </a:lnTo>
                <a:cubicBezTo>
                  <a:pt x="2595360" y="495611"/>
                  <a:pt x="2711606" y="452019"/>
                  <a:pt x="2809822" y="452019"/>
                </a:cubicBezTo>
                <a:close/>
                <a:moveTo>
                  <a:pt x="1079247" y="330967"/>
                </a:moveTo>
                <a:cubicBezTo>
                  <a:pt x="1039101" y="354484"/>
                  <a:pt x="989740" y="403598"/>
                  <a:pt x="952084" y="465588"/>
                </a:cubicBezTo>
                <a:cubicBezTo>
                  <a:pt x="914427" y="527577"/>
                  <a:pt x="887125" y="603548"/>
                  <a:pt x="887125" y="684091"/>
                </a:cubicBezTo>
                <a:cubicBezTo>
                  <a:pt x="887125" y="743091"/>
                  <a:pt x="906578" y="795805"/>
                  <a:pt x="940315" y="833769"/>
                </a:cubicBezTo>
                <a:cubicBezTo>
                  <a:pt x="974052" y="871732"/>
                  <a:pt x="1022072" y="894946"/>
                  <a:pt x="1079206" y="894946"/>
                </a:cubicBezTo>
                <a:cubicBezTo>
                  <a:pt x="1136340" y="894946"/>
                  <a:pt x="1184360" y="871732"/>
                  <a:pt x="1218097" y="833769"/>
                </a:cubicBezTo>
                <a:cubicBezTo>
                  <a:pt x="1251833" y="795805"/>
                  <a:pt x="1271286" y="743091"/>
                  <a:pt x="1271286" y="684091"/>
                </a:cubicBezTo>
                <a:cubicBezTo>
                  <a:pt x="1271286" y="603548"/>
                  <a:pt x="1243984" y="527577"/>
                  <a:pt x="1206328" y="465588"/>
                </a:cubicBezTo>
                <a:cubicBezTo>
                  <a:pt x="1168672" y="403598"/>
                  <a:pt x="1110735" y="347874"/>
                  <a:pt x="1079247" y="330967"/>
                </a:cubicBezTo>
                <a:close/>
                <a:moveTo>
                  <a:pt x="805966" y="263259"/>
                </a:moveTo>
                <a:cubicBezTo>
                  <a:pt x="686954" y="257894"/>
                  <a:pt x="551782" y="326830"/>
                  <a:pt x="446364" y="449558"/>
                </a:cubicBezTo>
                <a:cubicBezTo>
                  <a:pt x="393654" y="510922"/>
                  <a:pt x="348383" y="585734"/>
                  <a:pt x="316290" y="671430"/>
                </a:cubicBezTo>
                <a:cubicBezTo>
                  <a:pt x="284196" y="757125"/>
                  <a:pt x="265280" y="853705"/>
                  <a:pt x="265280" y="958605"/>
                </a:cubicBezTo>
                <a:cubicBezTo>
                  <a:pt x="265280" y="1073486"/>
                  <a:pt x="288318" y="1182036"/>
                  <a:pt x="329833" y="1280240"/>
                </a:cubicBezTo>
                <a:cubicBezTo>
                  <a:pt x="371348" y="1378444"/>
                  <a:pt x="431341" y="1466303"/>
                  <a:pt x="505249" y="1539802"/>
                </a:cubicBezTo>
                <a:cubicBezTo>
                  <a:pt x="579158" y="1613301"/>
                  <a:pt x="666983" y="1672440"/>
                  <a:pt x="764163" y="1713204"/>
                </a:cubicBezTo>
                <a:cubicBezTo>
                  <a:pt x="861343" y="1753969"/>
                  <a:pt x="967878" y="1776358"/>
                  <a:pt x="1079208" y="1776358"/>
                </a:cubicBezTo>
                <a:cubicBezTo>
                  <a:pt x="1190538" y="1776358"/>
                  <a:pt x="1297074" y="1753969"/>
                  <a:pt x="1394254" y="1713204"/>
                </a:cubicBezTo>
                <a:cubicBezTo>
                  <a:pt x="1491434" y="1672440"/>
                  <a:pt x="1579259" y="1613301"/>
                  <a:pt x="1653167" y="1539802"/>
                </a:cubicBezTo>
                <a:cubicBezTo>
                  <a:pt x="1727076" y="1466303"/>
                  <a:pt x="1787068" y="1378444"/>
                  <a:pt x="1828584" y="1280240"/>
                </a:cubicBezTo>
                <a:cubicBezTo>
                  <a:pt x="1870099" y="1182036"/>
                  <a:pt x="1893137" y="1073486"/>
                  <a:pt x="1893137" y="958605"/>
                </a:cubicBezTo>
                <a:cubicBezTo>
                  <a:pt x="1893137" y="855344"/>
                  <a:pt x="1874740" y="759689"/>
                  <a:pt x="1843297" y="674433"/>
                </a:cubicBezTo>
                <a:cubicBezTo>
                  <a:pt x="1811852" y="589176"/>
                  <a:pt x="1767361" y="514318"/>
                  <a:pt x="1715171" y="452650"/>
                </a:cubicBezTo>
                <a:cubicBezTo>
                  <a:pt x="1610792" y="329313"/>
                  <a:pt x="1475621" y="258738"/>
                  <a:pt x="1352451" y="263259"/>
                </a:cubicBezTo>
                <a:cubicBezTo>
                  <a:pt x="1412945" y="322179"/>
                  <a:pt x="1458865" y="394141"/>
                  <a:pt x="1489332" y="469668"/>
                </a:cubicBezTo>
                <a:cubicBezTo>
                  <a:pt x="1519800" y="545194"/>
                  <a:pt x="1534815" y="624285"/>
                  <a:pt x="1533501" y="697463"/>
                </a:cubicBezTo>
                <a:cubicBezTo>
                  <a:pt x="1533501" y="833577"/>
                  <a:pt x="1479467" y="949424"/>
                  <a:pt x="1395669" y="1031243"/>
                </a:cubicBezTo>
                <a:cubicBezTo>
                  <a:pt x="1311871" y="1113062"/>
                  <a:pt x="1198308" y="1160853"/>
                  <a:pt x="1079208" y="1160853"/>
                </a:cubicBezTo>
                <a:cubicBezTo>
                  <a:pt x="960109" y="1160853"/>
                  <a:pt x="846546" y="1113062"/>
                  <a:pt x="762748" y="1031243"/>
                </a:cubicBezTo>
                <a:cubicBezTo>
                  <a:pt x="678950" y="949424"/>
                  <a:pt x="624916" y="833577"/>
                  <a:pt x="624916" y="697463"/>
                </a:cubicBezTo>
                <a:cubicBezTo>
                  <a:pt x="624916" y="618236"/>
                  <a:pt x="642018" y="537734"/>
                  <a:pt x="673201" y="463015"/>
                </a:cubicBezTo>
                <a:cubicBezTo>
                  <a:pt x="704383" y="388296"/>
                  <a:pt x="749646" y="319359"/>
                  <a:pt x="805966" y="263259"/>
                </a:cubicBezTo>
                <a:close/>
                <a:moveTo>
                  <a:pt x="817834" y="0"/>
                </a:moveTo>
                <a:cubicBezTo>
                  <a:pt x="866589" y="0"/>
                  <a:pt x="917272" y="5772"/>
                  <a:pt x="963091" y="14770"/>
                </a:cubicBezTo>
                <a:cubicBezTo>
                  <a:pt x="1008909" y="23768"/>
                  <a:pt x="1049865" y="35991"/>
                  <a:pt x="1079167" y="48893"/>
                </a:cubicBezTo>
                <a:cubicBezTo>
                  <a:pt x="1107617" y="35545"/>
                  <a:pt x="1148593" y="23322"/>
                  <a:pt x="1194646" y="14436"/>
                </a:cubicBezTo>
                <a:cubicBezTo>
                  <a:pt x="1240699" y="5549"/>
                  <a:pt x="1291827" y="0"/>
                  <a:pt x="1340583" y="0"/>
                </a:cubicBezTo>
                <a:cubicBezTo>
                  <a:pt x="1448034" y="0"/>
                  <a:pt x="1552874" y="25401"/>
                  <a:pt x="1649693" y="72213"/>
                </a:cubicBezTo>
                <a:cubicBezTo>
                  <a:pt x="1746513" y="119025"/>
                  <a:pt x="1835310" y="187248"/>
                  <a:pt x="1910677" y="272891"/>
                </a:cubicBezTo>
                <a:cubicBezTo>
                  <a:pt x="1986043" y="358535"/>
                  <a:pt x="2047978" y="461600"/>
                  <a:pt x="2091072" y="578096"/>
                </a:cubicBezTo>
                <a:cubicBezTo>
                  <a:pt x="2134165" y="694592"/>
                  <a:pt x="2158417" y="824518"/>
                  <a:pt x="2158417" y="963886"/>
                </a:cubicBezTo>
                <a:cubicBezTo>
                  <a:pt x="2158417" y="1115873"/>
                  <a:pt x="2127372" y="1259243"/>
                  <a:pt x="2071704" y="1388805"/>
                </a:cubicBezTo>
                <a:cubicBezTo>
                  <a:pt x="2016036" y="1518366"/>
                  <a:pt x="1935744" y="1634120"/>
                  <a:pt x="1837251" y="1730875"/>
                </a:cubicBezTo>
                <a:cubicBezTo>
                  <a:pt x="1738759" y="1827631"/>
                  <a:pt x="1622064" y="1905388"/>
                  <a:pt x="1493585" y="1958956"/>
                </a:cubicBezTo>
                <a:cubicBezTo>
                  <a:pt x="1365105" y="2012524"/>
                  <a:pt x="1224841" y="2041903"/>
                  <a:pt x="1079208" y="2041903"/>
                </a:cubicBezTo>
                <a:cubicBezTo>
                  <a:pt x="933576" y="2041903"/>
                  <a:pt x="793312" y="2012524"/>
                  <a:pt x="664832" y="1958956"/>
                </a:cubicBezTo>
                <a:cubicBezTo>
                  <a:pt x="536353" y="1905388"/>
                  <a:pt x="419658" y="1827631"/>
                  <a:pt x="321166" y="1730875"/>
                </a:cubicBezTo>
                <a:cubicBezTo>
                  <a:pt x="222673" y="1634120"/>
                  <a:pt x="142381" y="1518366"/>
                  <a:pt x="86713" y="1388805"/>
                </a:cubicBezTo>
                <a:cubicBezTo>
                  <a:pt x="31045" y="1259243"/>
                  <a:pt x="0" y="1115873"/>
                  <a:pt x="0" y="963886"/>
                </a:cubicBezTo>
                <a:cubicBezTo>
                  <a:pt x="0" y="824518"/>
                  <a:pt x="24252" y="694592"/>
                  <a:pt x="67345" y="578096"/>
                </a:cubicBezTo>
                <a:cubicBezTo>
                  <a:pt x="110439" y="461600"/>
                  <a:pt x="172374" y="358535"/>
                  <a:pt x="247740" y="272891"/>
                </a:cubicBezTo>
                <a:cubicBezTo>
                  <a:pt x="323106" y="187248"/>
                  <a:pt x="411904" y="119025"/>
                  <a:pt x="508723" y="72213"/>
                </a:cubicBezTo>
                <a:cubicBezTo>
                  <a:pt x="605542" y="25401"/>
                  <a:pt x="710382" y="0"/>
                  <a:pt x="817834" y="0"/>
                </a:cubicBezTo>
                <a:close/>
              </a:path>
            </a:pathLst>
          </a:custGeom>
          <a:solidFill>
            <a:srgbClr val="FFFFFF"/>
          </a:solidFill>
          <a:ln w="763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4204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コンテンツ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タイトル 5">
            <a:extLst>
              <a:ext uri="{FF2B5EF4-FFF2-40B4-BE49-F238E27FC236}">
                <a16:creationId xmlns:a16="http://schemas.microsoft.com/office/drawing/2014/main" id="{740B46CC-2CF9-284F-9F56-02D00E754E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1" lang="ja-JP" altLang="en-US"/>
              <a:t>［タイトル］</a:t>
            </a:r>
          </a:p>
        </p:txBody>
      </p:sp>
      <p:sp>
        <p:nvSpPr>
          <p:cNvPr id="8" name="テキスト プレースホルダー 7">
            <a:extLst>
              <a:ext uri="{FF2B5EF4-FFF2-40B4-BE49-F238E27FC236}">
                <a16:creationId xmlns:a16="http://schemas.microsoft.com/office/drawing/2014/main" id="{7A82C159-A3E3-5C4A-85F2-522452EB1E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9" y="692151"/>
            <a:ext cx="11376026" cy="66929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>
                <a:latin typeface="+mn-ea"/>
                <a:ea typeface="+mn-ea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kumimoji="1" lang="ja-JP" altLang="en-US"/>
              <a:t>テキストの入力</a:t>
            </a:r>
            <a:endParaRPr kumimoji="1" lang="en-US" altLang="ja-JP"/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4258896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919E648-06B1-4354-1FEC-B2BE7C9FB1C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0A073551-C699-3F45-EBDE-4481CDE43CB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EC05BCCF-DA73-7EC8-D5C8-B0936E2EADB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400800"/>
            <a:ext cx="914400" cy="304800"/>
          </a:xfrm>
          <a:prstGeom prst="rect">
            <a:avLst/>
          </a:prstGeom>
        </p:spPr>
        <p:txBody>
          <a:bodyPr/>
          <a:lstStyle/>
          <a:p>
            <a:fld id="{FB05EEAB-BFDF-414F-8FF8-B74BE08151CD}" type="datetimeFigureOut">
              <a:rPr kumimoji="1" lang="ja-JP" altLang="en-US" smtClean="0"/>
              <a:t>2025/3/5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2CC20ACC-2B63-8000-301D-EF34E921C2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71600" y="6400800"/>
            <a:ext cx="4114800" cy="304800"/>
          </a:xfrm>
          <a:prstGeom prst="rect">
            <a:avLst/>
          </a:prstGeom>
        </p:spPr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0BE14C38-EE49-BCD5-2191-24C3AF7F8B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10DDD-A80A-4177-9753-B93B549C5EC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732957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写真入イノベーションカーブ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E01CCA0-7E92-7FFB-2532-8D8D86CBBF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6400" y="687600"/>
            <a:ext cx="7315200" cy="1447199"/>
          </a:xfrm>
          <a:prstGeom prst="rect">
            <a:avLst/>
          </a:prstGeom>
        </p:spPr>
        <p:txBody>
          <a:bodyPr/>
          <a:lstStyle/>
          <a:p>
            <a:r>
              <a:rPr kumimoji="1" lang="en-US" altLang="ja-JP"/>
              <a:t>01</a:t>
            </a:r>
            <a:endParaRPr kumimoji="1" lang="ja-JP" altLang="en-US"/>
          </a:p>
        </p:txBody>
      </p:sp>
      <p:pic>
        <p:nvPicPr>
          <p:cNvPr id="3" name="Picture 6">
            <a:extLst>
              <a:ext uri="{FF2B5EF4-FFF2-40B4-BE49-F238E27FC236}">
                <a16:creationId xmlns:a16="http://schemas.microsoft.com/office/drawing/2014/main" id="{38FD529D-5FF6-E828-CE3E-B79F0DF687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575" y="2447060"/>
            <a:ext cx="3718800" cy="3718800"/>
          </a:xfrm>
          <a:prstGeom prst="rect">
            <a:avLst/>
          </a:prstGeom>
        </p:spPr>
      </p:pic>
      <p:sp>
        <p:nvSpPr>
          <p:cNvPr id="5" name="テキスト プレースホルダー 8">
            <a:extLst>
              <a:ext uri="{FF2B5EF4-FFF2-40B4-BE49-F238E27FC236}">
                <a16:creationId xmlns:a16="http://schemas.microsoft.com/office/drawing/2014/main" id="{E10C1EF1-42DC-CE53-8902-8E322B4352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96400" y="2433600"/>
            <a:ext cx="7315200" cy="374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40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ja-JP" altLang="en-US"/>
              <a:t>中扉タイトル</a:t>
            </a: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53785BB8-9BEF-6511-73A0-EFF55EDD2267}"/>
              </a:ext>
            </a:extLst>
          </p:cNvPr>
          <p:cNvSpPr txBox="1"/>
          <p:nvPr userDrawn="1"/>
        </p:nvSpPr>
        <p:spPr>
          <a:xfrm>
            <a:off x="5943600" y="6562800"/>
            <a:ext cx="306000" cy="90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fld id="{8DD8EB0B-AB08-A54E-B33C-ED72A04D9CE9}" type="slidenum">
              <a:rPr lang="ja-JP" altLang="en-US" sz="800" smtClean="0">
                <a:solidFill>
                  <a:srgbClr val="6B6B6B"/>
                </a:solidFill>
              </a:rPr>
              <a:pPr algn="ctr"/>
              <a:t>‹#›</a:t>
            </a:fld>
            <a:endParaRPr kumimoji="0" lang="en-US" altLang="ja-JP" sz="800">
              <a:solidFill>
                <a:srgbClr val="6B6B6B"/>
              </a:solidFill>
              <a:latin typeface="+mn-ea"/>
              <a:cs typeface="Meiryo UI" pitchFamily="50" charset="-128"/>
            </a:endParaRPr>
          </a:p>
        </p:txBody>
      </p:sp>
      <p:pic>
        <p:nvPicPr>
          <p:cNvPr id="8" name="図プレースホルダー 15">
            <a:extLst>
              <a:ext uri="{FF2B5EF4-FFF2-40B4-BE49-F238E27FC236}">
                <a16:creationId xmlns:a16="http://schemas.microsoft.com/office/drawing/2014/main" id="{7A73D8A7-ECC3-BBC6-EF06-B230921C7B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1475" y="2447060"/>
            <a:ext cx="3718800" cy="3718800"/>
          </a:xfrm>
          <a:custGeom>
            <a:avLst/>
            <a:gdLst>
              <a:gd name="connsiteX0" fmla="*/ 1704548 w 5267271"/>
              <a:gd name="connsiteY0" fmla="*/ 0 h 5272719"/>
              <a:gd name="connsiteX1" fmla="*/ 3527745 w 5267271"/>
              <a:gd name="connsiteY1" fmla="*/ 1774521 h 5272719"/>
              <a:gd name="connsiteX2" fmla="*/ 5267271 w 5267271"/>
              <a:gd name="connsiteY2" fmla="*/ 5269498 h 5272719"/>
              <a:gd name="connsiteX3" fmla="*/ 3509088 w 5267271"/>
              <a:gd name="connsiteY3" fmla="*/ 5269044 h 5272719"/>
              <a:gd name="connsiteX4" fmla="*/ 1794302 w 5267271"/>
              <a:gd name="connsiteY4" fmla="*/ 1858626 h 5272719"/>
              <a:gd name="connsiteX5" fmla="*/ 1794667 w 5267271"/>
              <a:gd name="connsiteY5" fmla="*/ 5270472 h 5272719"/>
              <a:gd name="connsiteX6" fmla="*/ 0 w 5267271"/>
              <a:gd name="connsiteY6" fmla="*/ 5272719 h 5272719"/>
              <a:gd name="connsiteX7" fmla="*/ 3384 w 5267271"/>
              <a:gd name="connsiteY7" fmla="*/ 1714773 h 5272719"/>
              <a:gd name="connsiteX8" fmla="*/ 569360 w 5267271"/>
              <a:gd name="connsiteY8" fmla="*/ 333790 h 5272719"/>
              <a:gd name="connsiteX9" fmla="*/ 1704548 w 5267271"/>
              <a:gd name="connsiteY9" fmla="*/ 0 h 5272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67271" h="5272719">
                <a:moveTo>
                  <a:pt x="1704548" y="0"/>
                </a:moveTo>
                <a:cubicBezTo>
                  <a:pt x="2442328" y="19929"/>
                  <a:pt x="2925708" y="438914"/>
                  <a:pt x="3527745" y="1774521"/>
                </a:cubicBezTo>
                <a:lnTo>
                  <a:pt x="5267271" y="5269498"/>
                </a:lnTo>
                <a:lnTo>
                  <a:pt x="3509088" y="5269044"/>
                </a:lnTo>
                <a:cubicBezTo>
                  <a:pt x="2932089" y="4085847"/>
                  <a:pt x="2376159" y="3052885"/>
                  <a:pt x="1794302" y="1858626"/>
                </a:cubicBezTo>
                <a:cubicBezTo>
                  <a:pt x="1800510" y="2806405"/>
                  <a:pt x="1797959" y="3550976"/>
                  <a:pt x="1794667" y="5270472"/>
                </a:cubicBezTo>
                <a:lnTo>
                  <a:pt x="0" y="5272719"/>
                </a:lnTo>
                <a:cubicBezTo>
                  <a:pt x="6041" y="3933998"/>
                  <a:pt x="-2660" y="3106972"/>
                  <a:pt x="3384" y="1714773"/>
                </a:cubicBezTo>
                <a:cubicBezTo>
                  <a:pt x="20552" y="931022"/>
                  <a:pt x="285832" y="562108"/>
                  <a:pt x="569360" y="333790"/>
                </a:cubicBezTo>
                <a:cubicBezTo>
                  <a:pt x="852888" y="105472"/>
                  <a:pt x="1272212" y="9538"/>
                  <a:pt x="1704548" y="0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3133523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Light_Full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nnovation Curve">
            <a:extLst>
              <a:ext uri="{FF2B5EF4-FFF2-40B4-BE49-F238E27FC236}">
                <a16:creationId xmlns:a16="http://schemas.microsoft.com/office/drawing/2014/main" id="{9211F747-506E-5ED4-9B68-EE6B3F99C9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0" y="-14748"/>
            <a:ext cx="6872748" cy="6872748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1506BD0E-4DCD-8BA9-2037-DE975A1F091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484346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DD68B773-8219-9567-613E-7A2F2D4F6C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4843462" cy="353943"/>
          </a:xfr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/>
              <a:t>Click to edit Master subtitle style</a:t>
            </a:r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9B553D8-6E2B-127F-58DE-5165236A2DF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pPr algn="r"/>
            <a:r>
              <a:rPr lang="en-DE"/>
              <a:t>Date</a:t>
            </a:r>
            <a:endParaRPr lang="en-US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453B208-9097-2E2C-EC03-BD8A676700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pt-BR"/>
              <a:t>© 2023 NTT DATA Americas, Inc.</a:t>
            </a:r>
            <a:endParaRPr lang="en-US"/>
          </a:p>
        </p:txBody>
      </p:sp>
      <p:pic>
        <p:nvPicPr>
          <p:cNvPr id="4" name="NTT DATA Global Logo" descr="NTT DATA Logo">
            <a:extLst>
              <a:ext uri="{FF2B5EF4-FFF2-40B4-BE49-F238E27FC236}">
                <a16:creationId xmlns:a16="http://schemas.microsoft.com/office/drawing/2014/main" id="{07CD756B-D053-7A46-EC8E-FF1D6BF1F70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  <p:sp>
        <p:nvSpPr>
          <p:cNvPr id="7" name="Info Box">
            <a:extLst>
              <a:ext uri="{FF2B5EF4-FFF2-40B4-BE49-F238E27FC236}">
                <a16:creationId xmlns:a16="http://schemas.microsoft.com/office/drawing/2014/main" id="{3CC8FA91-A78C-BC6E-F17A-FF26055644B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0101235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Information Type:</a:t>
            </a:r>
            <a:br>
              <a:rPr lang="en-US" noProof="0"/>
            </a:br>
            <a:r>
              <a:rPr lang="en-US" noProof="0"/>
              <a:t>Company:  </a:t>
            </a:r>
            <a:br>
              <a:rPr lang="en-US" noProof="0"/>
            </a:br>
            <a:r>
              <a:rPr lang="en-US" noProof="0"/>
              <a:t>Information Owner:</a:t>
            </a:r>
          </a:p>
        </p:txBody>
      </p:sp>
    </p:spTree>
    <p:extLst>
      <p:ext uri="{BB962C8B-B14F-4D97-AF65-F5344CB8AC3E}">
        <p14:creationId xmlns:p14="http://schemas.microsoft.com/office/powerpoint/2010/main" val="7645719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Light_Partial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nnovation Curve">
            <a:extLst>
              <a:ext uri="{FF2B5EF4-FFF2-40B4-BE49-F238E27FC236}">
                <a16:creationId xmlns:a16="http://schemas.microsoft.com/office/drawing/2014/main" id="{00ADE50C-F63B-648C-9FD0-E0FA384DFD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6952" y="0"/>
            <a:ext cx="4602549" cy="6876288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82ADFA92-0E48-355A-2DA8-D40523A9A84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6969876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8B12889-37ED-D704-59B8-7CECF20BCF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6969876" cy="353943"/>
          </a:xfr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/>
              <a:t>Click to edit Master sub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655333B3-E5F2-A1A8-F59F-D7085B34A1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pt-BR"/>
              <a:t>© 2023 NTT DATA Americas, Inc.</a:t>
            </a:r>
            <a:endParaRPr lang="en-US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F00FCC36-8879-E02B-48F4-D31C54AAA16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en-DE"/>
              <a:t>Date</a:t>
            </a:r>
            <a:endParaRPr lang="en-US"/>
          </a:p>
        </p:txBody>
      </p:sp>
      <p:pic>
        <p:nvPicPr>
          <p:cNvPr id="5" name="NTT DATA Global Logo">
            <a:extLst>
              <a:ext uri="{FF2B5EF4-FFF2-40B4-BE49-F238E27FC236}">
                <a16:creationId xmlns:a16="http://schemas.microsoft.com/office/drawing/2014/main" id="{6696BBEF-690F-3F5E-4ABD-464267D3697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  <p:sp>
        <p:nvSpPr>
          <p:cNvPr id="6" name="Info Box">
            <a:extLst>
              <a:ext uri="{FF2B5EF4-FFF2-40B4-BE49-F238E27FC236}">
                <a16:creationId xmlns:a16="http://schemas.microsoft.com/office/drawing/2014/main" id="{A934FE38-155A-D06E-C380-44183B71379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71475" y="5875374"/>
            <a:ext cx="1958400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/>
              <a:t>Information Type:</a:t>
            </a:r>
            <a:br>
              <a:rPr lang="en-US" noProof="0"/>
            </a:br>
            <a:r>
              <a:rPr lang="en-US" noProof="0"/>
              <a:t>Company:  </a:t>
            </a:r>
            <a:br>
              <a:rPr lang="en-US" noProof="0"/>
            </a:br>
            <a:r>
              <a:rPr lang="en-US" noProof="0"/>
              <a:t>Information Owner:</a:t>
            </a:r>
          </a:p>
        </p:txBody>
      </p:sp>
    </p:spTree>
    <p:extLst>
      <p:ext uri="{BB962C8B-B14F-4D97-AF65-F5344CB8AC3E}">
        <p14:creationId xmlns:p14="http://schemas.microsoft.com/office/powerpoint/2010/main" val="24264335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, Partial Innovation Curv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mart Navy SemiTrans Overlay">
            <a:extLst>
              <a:ext uri="{FF2B5EF4-FFF2-40B4-BE49-F238E27FC236}">
                <a16:creationId xmlns:a16="http://schemas.microsoft.com/office/drawing/2014/main" id="{39BA9756-44A4-AC93-1405-84B020B6F4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/>
              <a:t> 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rgbClr val="FF7A00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image. Then Reorder: Send to back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B69904B-F3B0-9924-1277-D5E10CC8F9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pt-BR"/>
              <a:t>© 2025 NTT DATA Inc.</a:t>
            </a:r>
            <a:endParaRPr lang="en-US"/>
          </a:p>
        </p:txBody>
      </p:sp>
      <p:sp>
        <p:nvSpPr>
          <p:cNvPr id="8" name="Innovation Curve">
            <a:extLst>
              <a:ext uri="{FF2B5EF4-FFF2-40B4-BE49-F238E27FC236}">
                <a16:creationId xmlns:a16="http://schemas.microsoft.com/office/drawing/2014/main" id="{F707DE12-3594-93EB-F056-2B2C43B2478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637463" y="3175"/>
            <a:ext cx="4554537" cy="685641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/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612179AF-A82A-2C38-AA6E-ADD8AE770B1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fld id="{0AC01F61-A360-43BA-8F86-E63C16017CFF}" type="datetime1">
              <a:rPr lang="en-US" smtClean="0"/>
              <a:t>3/5/2025</a:t>
            </a:fld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C858A80-3045-093E-B563-A7492ACE92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679799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rgbClr val="F8F8F8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CAE6CB7E-3B40-11A3-1BAD-6A73DF9D83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6797992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rgbClr val="F8F8F8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/>
              <a:t>Click to edit Master subtitle style</a:t>
            </a:r>
          </a:p>
        </p:txBody>
      </p:sp>
      <p:sp>
        <p:nvSpPr>
          <p:cNvPr id="13" name="NTT DATA Global Logo" descr="NTT DATA Global Logo">
            <a:extLst>
              <a:ext uri="{FF2B5EF4-FFF2-40B4-BE49-F238E27FC236}">
                <a16:creationId xmlns:a16="http://schemas.microsoft.com/office/drawing/2014/main" id="{F1A70F1C-0C1D-4983-5A07-15932C3427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Info box">
            <a:extLst>
              <a:ext uri="{FF2B5EF4-FFF2-40B4-BE49-F238E27FC236}">
                <a16:creationId xmlns:a16="http://schemas.microsoft.com/office/drawing/2014/main" id="{3CEDB687-72D7-CB65-F36A-20FAF24C235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71475" y="5875374"/>
            <a:ext cx="1958400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700" kern="1200" noProof="0" dirty="0">
                <a:solidFill>
                  <a:schemeClr val="accent6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/>
              <a:t>Information Type:</a:t>
            </a:r>
            <a:br>
              <a:rPr lang="en-US" noProof="0"/>
            </a:br>
            <a:r>
              <a:rPr lang="en-US" noProof="0"/>
              <a:t>Company:  </a:t>
            </a:r>
            <a:br>
              <a:rPr lang="en-US" noProof="0"/>
            </a:br>
            <a:r>
              <a:rPr lang="en-US" noProof="0"/>
              <a:t>Information Owner:</a:t>
            </a:r>
          </a:p>
        </p:txBody>
      </p:sp>
    </p:spTree>
    <p:extLst>
      <p:ext uri="{BB962C8B-B14F-4D97-AF65-F5344CB8AC3E}">
        <p14:creationId xmlns:p14="http://schemas.microsoft.com/office/powerpoint/2010/main" val="37808340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Light_No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69CCA6BB-2FF1-1F79-CE75-4214597FB51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11440477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FFBC9B23-4469-4B26-BEC9-4E111C2B8F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11440477" cy="353943"/>
          </a:xfr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/>
              <a:t>Click to edit Master subtitle styl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606E1903-FF29-7A88-0707-803367E5E51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en-DE"/>
              <a:t>Date</a:t>
            </a:r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EE186BE1-1DE6-82D8-B7EF-529F2205B8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pt-BR"/>
              <a:t>© 2023 NTT DATA Americas, Inc.</a:t>
            </a:r>
            <a:endParaRPr lang="en-US"/>
          </a:p>
        </p:txBody>
      </p:sp>
      <p:sp>
        <p:nvSpPr>
          <p:cNvPr id="2" name="Info Box">
            <a:extLst>
              <a:ext uri="{FF2B5EF4-FFF2-40B4-BE49-F238E27FC236}">
                <a16:creationId xmlns:a16="http://schemas.microsoft.com/office/drawing/2014/main" id="{7460FF67-E88C-345F-912C-69776540AF2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/>
              <a:t>Information Type:</a:t>
            </a:r>
            <a:br>
              <a:rPr lang="en-US" noProof="0"/>
            </a:br>
            <a:r>
              <a:rPr lang="en-US" noProof="0"/>
              <a:t>Company:  </a:t>
            </a:r>
            <a:br>
              <a:rPr lang="en-US" noProof="0"/>
            </a:br>
            <a:r>
              <a:rPr lang="en-US" noProof="0"/>
              <a:t>Information Owner:</a:t>
            </a:r>
          </a:p>
        </p:txBody>
      </p:sp>
      <p:pic>
        <p:nvPicPr>
          <p:cNvPr id="5" name="NTT DATA Global Logo">
            <a:extLst>
              <a:ext uri="{FF2B5EF4-FFF2-40B4-BE49-F238E27FC236}">
                <a16:creationId xmlns:a16="http://schemas.microsoft.com/office/drawing/2014/main" id="{2F900288-9276-0271-5B36-DA597F55D4E8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6767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_Cover_Light_Image Botto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4C066D7D-0D2A-E525-7A09-B865124FD30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3352800"/>
            <a:ext cx="12192000" cy="3505200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 marL="914400" indent="0">
              <a:buNone/>
              <a:defRPr>
                <a:noFill/>
              </a:defRPr>
            </a:lvl3pPr>
            <a:lvl4pPr marL="1371600" indent="0">
              <a:buNone/>
              <a:defRPr>
                <a:noFill/>
              </a:defRPr>
            </a:lvl4pPr>
            <a:lvl5pPr marL="1828800" indent="0">
              <a:buNone/>
              <a:defRPr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52800"/>
            <a:ext cx="12192000" cy="35096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image.</a:t>
            </a:r>
            <a:br>
              <a:rPr lang="en-US"/>
            </a:br>
            <a:r>
              <a:rPr lang="en-US"/>
              <a:t>Then Reorder: Send to back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84AF061-2BD7-B395-13B3-8F8BF41722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2050182"/>
            <a:ext cx="11449049" cy="6096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nter the subtitle text</a:t>
            </a:r>
          </a:p>
        </p:txBody>
      </p:sp>
      <p:sp>
        <p:nvSpPr>
          <p:cNvPr id="7" name="MainTitle">
            <a:extLst>
              <a:ext uri="{FF2B5EF4-FFF2-40B4-BE49-F238E27FC236}">
                <a16:creationId xmlns:a16="http://schemas.microsoft.com/office/drawing/2014/main" id="{6B8D68FD-3EFC-86B8-83A6-942558B1B3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412875"/>
            <a:ext cx="11449050" cy="651610"/>
          </a:xfrm>
        </p:spPr>
        <p:txBody>
          <a:bodyPr/>
          <a:lstStyle>
            <a:lvl1pPr>
              <a:defRPr sz="44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4" name="Innovation Curve Over">
            <a:extLst>
              <a:ext uri="{FF2B5EF4-FFF2-40B4-BE49-F238E27FC236}">
                <a16:creationId xmlns:a16="http://schemas.microsoft.com/office/drawing/2014/main" id="{0E296AC8-E4D5-3A7F-3C42-CC289AAB1E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67800" y="3733800"/>
            <a:ext cx="2741663" cy="27432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245BFAB-6256-BF35-C9F5-6D558800765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026140" y="3147301"/>
            <a:ext cx="794384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en-DE"/>
              <a:t>Date</a:t>
            </a:r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F45B6080-7233-0809-75A8-E904530DE0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3147301"/>
            <a:ext cx="5123498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pt-BR"/>
              <a:t>© 2023 NTT DATA Americas, Inc.</a:t>
            </a:r>
            <a:endParaRPr lang="en-US"/>
          </a:p>
        </p:txBody>
      </p:sp>
      <p:sp>
        <p:nvSpPr>
          <p:cNvPr id="2" name="Info box">
            <a:extLst>
              <a:ext uri="{FF2B5EF4-FFF2-40B4-BE49-F238E27FC236}">
                <a16:creationId xmlns:a16="http://schemas.microsoft.com/office/drawing/2014/main" id="{979EC8F5-DC72-37F6-85BB-C3ADC50D2DF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/>
              <a:t>Information Type:</a:t>
            </a:r>
            <a:br>
              <a:rPr lang="en-US" noProof="0"/>
            </a:br>
            <a:r>
              <a:rPr lang="en-US" noProof="0"/>
              <a:t>Company:  </a:t>
            </a:r>
            <a:br>
              <a:rPr lang="en-US" noProof="0"/>
            </a:br>
            <a:r>
              <a:rPr lang="en-US" noProof="0"/>
              <a:t>Information Owner:</a:t>
            </a:r>
          </a:p>
        </p:txBody>
      </p:sp>
      <p:pic>
        <p:nvPicPr>
          <p:cNvPr id="4" name="NTT DATA Global Logo">
            <a:extLst>
              <a:ext uri="{FF2B5EF4-FFF2-40B4-BE49-F238E27FC236}">
                <a16:creationId xmlns:a16="http://schemas.microsoft.com/office/drawing/2014/main" id="{93955C0C-38C4-366F-0C4D-7A71C122ED7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96090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0C3BB7C-B4A7-41A4-8C5A-903570B607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9C53063-1F58-BE27-2E94-7E00DE7726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pt-BR"/>
              <a:t>© 2023 NTT DATA Americas, Inc.</a:t>
            </a:r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F1EE05E-1EF3-FA88-09CC-87DB6B5818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59711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B4CF512-82E1-2689-F640-DDFFDD4CD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pt-BR"/>
              <a:t>© 2023 NTT DATA Americas, Inc.</a:t>
            </a:r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9ED1C7-0FF1-008B-4E0C-83259A7B61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96923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Whi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NTT DATA Global Logo">
            <a:extLst>
              <a:ext uri="{FF2B5EF4-FFF2-40B4-BE49-F238E27FC236}">
                <a16:creationId xmlns:a16="http://schemas.microsoft.com/office/drawing/2014/main" id="{01F40004-0B55-0534-B49E-3160E9FA2E1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03287" y="2880000"/>
            <a:ext cx="5385427" cy="10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7670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_Divider_Image Lef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286000"/>
            <a:ext cx="7315200" cy="3951288"/>
          </a:xfrm>
        </p:spPr>
        <p:txBody>
          <a:bodyPr/>
          <a:lstStyle>
            <a:lvl1pPr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/>
              <a:t>Divider Page Text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#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CBAA2EA5-06E3-8691-22FA-AE783265C86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E201FA-14DE-26F5-5B59-34540918F7C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7D78CB3-8E2A-426A-73F0-19178ABAA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495800" y="6563358"/>
            <a:ext cx="320294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pt-BR"/>
              <a:t>© 2023 NTT DATA Americas, Inc.</a:t>
            </a:r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0D19329-B7C0-CE48-A2F3-05D87FD03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777162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035541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/Sub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3BFEB-E3E2-40B7-A253-8DF9A4AD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1347732"/>
            <a:ext cx="11582400" cy="40486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spcBef>
                <a:spcPts val="0"/>
              </a:spcBef>
              <a:buNone/>
              <a:defRPr sz="2000"/>
            </a:lvl1pPr>
          </a:lstStyle>
          <a:p>
            <a:pPr lvl="0"/>
            <a:r>
              <a:rPr lang="en-US"/>
              <a:t>[Subtitle]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162BD97-CE5D-4353-8684-0E76CAC1F5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828800"/>
            <a:ext cx="11582400" cy="4572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76293CAC-E1C7-430F-9B47-1D1372474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9DBFC91C-8CCE-4BFA-A2DB-040D53241C3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2BDF944-3173-46A4-AE85-8B2DF233C2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98966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E739A75F-C26E-4579-AC28-FB23926AD72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750" y="908049"/>
            <a:ext cx="11113200" cy="5256000"/>
          </a:xfrm>
          <a:prstGeom prst="rect">
            <a:avLst/>
          </a:prstGeom>
        </p:spPr>
        <p:txBody>
          <a:bodyPr/>
          <a:lstStyle>
            <a:lvl1pPr marL="0" marR="0" indent="0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marR="0" lvl="0" indent="0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1" lang="en-US" altLang="ja-JP"/>
              <a:t>Click and enter text.</a:t>
            </a:r>
            <a:endParaRPr kumimoji="1" lang="ja-JP" altLang="en-US"/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9" name="タイトル 1"/>
          <p:cNvSpPr>
            <a:spLocks noGrp="1"/>
          </p:cNvSpPr>
          <p:nvPr>
            <p:ph type="title" hasCustomPrompt="1"/>
          </p:nvPr>
        </p:nvSpPr>
        <p:spPr>
          <a:xfrm>
            <a:off x="172188" y="0"/>
            <a:ext cx="11844000" cy="731661"/>
          </a:xfrm>
          <a:prstGeom prst="rect">
            <a:avLst/>
          </a:prstGeom>
        </p:spPr>
        <p:txBody>
          <a:bodyPr tIns="108000" anchor="ctr" anchorCtr="0">
            <a:normAutofit/>
          </a:bodyPr>
          <a:lstStyle>
            <a:lvl1pPr>
              <a:defRPr lang="en-US" altLang="ja-JP" spc="0" dirty="0" smtClean="0">
                <a:solidFill>
                  <a:schemeClr val="accent2"/>
                </a:solidFill>
                <a:latin typeface="+mj-ea"/>
                <a:ea typeface="+mj-ea"/>
                <a:cs typeface="Arial"/>
              </a:defRPr>
            </a:lvl1pPr>
          </a:lstStyle>
          <a:p>
            <a:pPr marL="226468" marR="0" lvl="0" indent="-226468" latinLnBrk="0">
              <a:lnSpc>
                <a:spcPct val="100000"/>
              </a:lnSpc>
              <a:spcBef>
                <a:spcPct val="20000"/>
              </a:spcBef>
              <a:buClrTx/>
              <a:buSzTx/>
              <a:buFont typeface="+mj-lt"/>
              <a:buNone/>
              <a:tabLst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33033722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s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0"/>
          <p:cNvSpPr/>
          <p:nvPr userDrawn="1"/>
        </p:nvSpPr>
        <p:spPr>
          <a:xfrm>
            <a:off x="0" y="0"/>
            <a:ext cx="12192000" cy="733702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4024" tIns="42012" rIns="84024" bIns="42012" rtlCol="0" anchor="ctr">
            <a:norm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テキスト プレースホルダー 9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" y="2902"/>
            <a:ext cx="11844000" cy="720000"/>
          </a:xfrm>
          <a:prstGeom prst="rect">
            <a:avLst/>
          </a:prstGeom>
        </p:spPr>
        <p:txBody>
          <a:bodyPr tIns="108000" anchor="ctr" anchorCtr="0">
            <a:normAutofit/>
          </a:bodyPr>
          <a:lstStyle>
            <a:lvl1pPr marL="0" indent="0">
              <a:buFont typeface="+mj-lt"/>
              <a:buNone/>
              <a:defRPr sz="2800" baseline="0">
                <a:solidFill>
                  <a:schemeClr val="bg1"/>
                </a:solidFill>
                <a:latin typeface="HGSｺﾞｼｯｸE" panose="020B0900000000000000" pitchFamily="50" charset="-128"/>
                <a:ea typeface="HGSｺﾞｼｯｸE" panose="020B0900000000000000" pitchFamily="50" charset="-128"/>
              </a:defRPr>
            </a:lvl1pPr>
          </a:lstStyle>
          <a:p>
            <a:pPr marL="226468" marR="0" lvl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393312353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タイトル 5">
            <a:extLst>
              <a:ext uri="{FF2B5EF4-FFF2-40B4-BE49-F238E27FC236}">
                <a16:creationId xmlns:a16="http://schemas.microsoft.com/office/drawing/2014/main" id="{740B46CC-2CF9-284F-9F56-02D00E754E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1" lang="en-US" altLang="ja-JP"/>
              <a:t>[Title]</a:t>
            </a:r>
            <a:endParaRPr kumimoji="1" lang="ja-JP" altLang="en-US"/>
          </a:p>
        </p:txBody>
      </p:sp>
      <p:sp>
        <p:nvSpPr>
          <p:cNvPr id="8" name="テキスト プレースホルダー 7">
            <a:extLst>
              <a:ext uri="{FF2B5EF4-FFF2-40B4-BE49-F238E27FC236}">
                <a16:creationId xmlns:a16="http://schemas.microsoft.com/office/drawing/2014/main" id="{7A82C159-A3E3-5C4A-85F2-522452EB1E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9" y="692151"/>
            <a:ext cx="11376026" cy="66929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>
                <a:latin typeface="+mn-lt"/>
                <a:ea typeface="+mn-ea"/>
              </a:defRPr>
            </a:lvl1pPr>
            <a:lvl2pPr>
              <a:defRPr>
                <a:latin typeface="+mn-lt"/>
                <a:ea typeface="+mn-ea"/>
              </a:defRPr>
            </a:lvl2pPr>
            <a:lvl3pPr>
              <a:defRPr>
                <a:latin typeface="+mn-lt"/>
                <a:ea typeface="+mn-ea"/>
              </a:defRPr>
            </a:lvl3pPr>
            <a:lvl4pPr>
              <a:defRPr>
                <a:latin typeface="+mn-lt"/>
                <a:ea typeface="+mn-ea"/>
              </a:defRPr>
            </a:lvl4pPr>
            <a:lvl5pPr>
              <a:defRPr>
                <a:latin typeface="+mn-lt"/>
                <a:ea typeface="+mn-ea"/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360119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mart Navy SemiTrans Overlay">
            <a:extLst>
              <a:ext uri="{FF2B5EF4-FFF2-40B4-BE49-F238E27FC236}">
                <a16:creationId xmlns:a16="http://schemas.microsoft.com/office/drawing/2014/main" id="{39BA9756-44A4-AC93-1405-84B020B6F4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/>
              <a:t> 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rgbClr val="FF7A00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image. Then Reorder: Send to back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C858A80-3045-093E-B563-A7492ACE92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7" y="2438400"/>
            <a:ext cx="11440477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rgbClr val="F8F8F8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CAE6CB7E-3B40-11A3-1BAD-6A73DF9D83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7" y="3810000"/>
            <a:ext cx="11440477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rgbClr val="F8F8F8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/>
              <a:t>Click to edit Master subtitle style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3FF38E4A-7B13-70A1-52C6-61A780336E87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fld id="{B1641440-E5D4-4D75-BABE-5A1DA0D449A7}" type="datetime1">
              <a:rPr lang="en-US" smtClean="0"/>
              <a:t>3/5/2025</a:t>
            </a:fld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A3B868D7-8467-2439-DEEF-BBA9DFE908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pt-BR"/>
              <a:t>© 2025 NTT DATA Inc.</a:t>
            </a:r>
            <a:endParaRPr lang="en-US"/>
          </a:p>
        </p:txBody>
      </p:sp>
      <p:sp>
        <p:nvSpPr>
          <p:cNvPr id="3" name="Info Box">
            <a:extLst>
              <a:ext uri="{FF2B5EF4-FFF2-40B4-BE49-F238E27FC236}">
                <a16:creationId xmlns:a16="http://schemas.microsoft.com/office/drawing/2014/main" id="{60ABE840-6E2F-413E-A4F2-D50BE7A3C8B3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/>
              <a:t>Information Type:</a:t>
            </a:r>
            <a:br>
              <a:rPr lang="en-US" noProof="0"/>
            </a:br>
            <a:r>
              <a:rPr lang="en-US" noProof="0"/>
              <a:t>Company:  </a:t>
            </a:r>
            <a:br>
              <a:rPr lang="en-US" noProof="0"/>
            </a:br>
            <a:r>
              <a:rPr lang="en-US" noProof="0"/>
              <a:t>Information Owner:</a:t>
            </a:r>
          </a:p>
        </p:txBody>
      </p:sp>
      <p:sp>
        <p:nvSpPr>
          <p:cNvPr id="11" name="NTT DATA Global Logo" descr="NTT DATA Global Logo">
            <a:extLst>
              <a:ext uri="{FF2B5EF4-FFF2-40B4-BE49-F238E27FC236}">
                <a16:creationId xmlns:a16="http://schemas.microsoft.com/office/drawing/2014/main" id="{A2A24C7A-90C2-A7EA-697B-7A559561F6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6606210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_Cover_Light_Full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nnovation Curve">
            <a:extLst>
              <a:ext uri="{FF2B5EF4-FFF2-40B4-BE49-F238E27FC236}">
                <a16:creationId xmlns:a16="http://schemas.microsoft.com/office/drawing/2014/main" id="{9211F747-506E-5ED4-9B68-EE6B3F99C9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alphaModFix amt="3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4000" y="-14748"/>
            <a:ext cx="6872748" cy="6872748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1506BD0E-4DCD-8BA9-2037-DE975A1F091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484346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DD68B773-8219-9567-613E-7A2F2D4F6C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4843462" cy="353943"/>
          </a:xfr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/>
              <a:t>Click to edit Master subtitle style</a:t>
            </a:r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9B553D8-6E2B-127F-58DE-5165236A2DF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453B208-9097-2E2C-EC03-BD8A676700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endParaRPr lang="en-US"/>
          </a:p>
        </p:txBody>
      </p:sp>
      <p:pic>
        <p:nvPicPr>
          <p:cNvPr id="4" name="NTT DATA Global Logo" descr="NTT DATA Logo">
            <a:extLst>
              <a:ext uri="{FF2B5EF4-FFF2-40B4-BE49-F238E27FC236}">
                <a16:creationId xmlns:a16="http://schemas.microsoft.com/office/drawing/2014/main" id="{07CD756B-D053-7A46-EC8E-FF1D6BF1F70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  <p:sp>
        <p:nvSpPr>
          <p:cNvPr id="7" name="Info Box">
            <a:extLst>
              <a:ext uri="{FF2B5EF4-FFF2-40B4-BE49-F238E27FC236}">
                <a16:creationId xmlns:a16="http://schemas.microsoft.com/office/drawing/2014/main" id="{3CC8FA91-A78C-BC6E-F17A-FF26055644B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0101235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Information Type:</a:t>
            </a:r>
            <a:br>
              <a:rPr lang="en-US" noProof="0"/>
            </a:br>
            <a:r>
              <a:rPr lang="en-US" noProof="0"/>
              <a:t>Company:  </a:t>
            </a:r>
            <a:br>
              <a:rPr lang="en-US" noProof="0"/>
            </a:br>
            <a:r>
              <a:rPr lang="en-US" noProof="0"/>
              <a:t>Information Owner:</a:t>
            </a:r>
          </a:p>
        </p:txBody>
      </p:sp>
    </p:spTree>
    <p:extLst>
      <p:ext uri="{BB962C8B-B14F-4D97-AF65-F5344CB8AC3E}">
        <p14:creationId xmlns:p14="http://schemas.microsoft.com/office/powerpoint/2010/main" val="32551114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_Cover_Light_Partial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nnovation Curve">
            <a:extLst>
              <a:ext uri="{FF2B5EF4-FFF2-40B4-BE49-F238E27FC236}">
                <a16:creationId xmlns:a16="http://schemas.microsoft.com/office/drawing/2014/main" id="{00ADE50C-F63B-648C-9FD0-E0FA384DFD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6952" y="0"/>
            <a:ext cx="4602549" cy="6876288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82ADFA92-0E48-355A-2DA8-D40523A9A84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6969876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8B12889-37ED-D704-59B8-7CECF20BCF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6969876" cy="353943"/>
          </a:xfr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/>
              <a:t>Click to edit Master sub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655333B3-E5F2-A1A8-F59F-D7085B34A1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F00FCC36-8879-E02B-48F4-D31C54AAA16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endParaRPr lang="en-US"/>
          </a:p>
        </p:txBody>
      </p:sp>
      <p:pic>
        <p:nvPicPr>
          <p:cNvPr id="5" name="NTT DATA Global Logo">
            <a:extLst>
              <a:ext uri="{FF2B5EF4-FFF2-40B4-BE49-F238E27FC236}">
                <a16:creationId xmlns:a16="http://schemas.microsoft.com/office/drawing/2014/main" id="{6696BBEF-690F-3F5E-4ABD-464267D3697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  <p:sp>
        <p:nvSpPr>
          <p:cNvPr id="6" name="Info Box">
            <a:extLst>
              <a:ext uri="{FF2B5EF4-FFF2-40B4-BE49-F238E27FC236}">
                <a16:creationId xmlns:a16="http://schemas.microsoft.com/office/drawing/2014/main" id="{A934FE38-155A-D06E-C380-44183B71379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71475" y="5875374"/>
            <a:ext cx="1958400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/>
              <a:t>Information Type:</a:t>
            </a:r>
            <a:br>
              <a:rPr lang="en-US" noProof="0"/>
            </a:br>
            <a:r>
              <a:rPr lang="en-US" noProof="0"/>
              <a:t>Company:  </a:t>
            </a:r>
            <a:br>
              <a:rPr lang="en-US" noProof="0"/>
            </a:br>
            <a:r>
              <a:rPr lang="en-US" noProof="0"/>
              <a:t>Information Owner:</a:t>
            </a:r>
          </a:p>
        </p:txBody>
      </p:sp>
    </p:spTree>
    <p:extLst>
      <p:ext uri="{BB962C8B-B14F-4D97-AF65-F5344CB8AC3E}">
        <p14:creationId xmlns:p14="http://schemas.microsoft.com/office/powerpoint/2010/main" val="103721609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_Cover_Light_No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69CCA6BB-2FF1-1F79-CE75-4214597FB51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11440477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FFBC9B23-4469-4B26-BEC9-4E111C2B8F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11440477" cy="353943"/>
          </a:xfr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/>
              <a:t>Click to edit Master subtitle styl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606E1903-FF29-7A88-0707-803367E5E51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EE186BE1-1DE6-82D8-B7EF-529F2205B8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Info Box">
            <a:extLst>
              <a:ext uri="{FF2B5EF4-FFF2-40B4-BE49-F238E27FC236}">
                <a16:creationId xmlns:a16="http://schemas.microsoft.com/office/drawing/2014/main" id="{7460FF67-E88C-345F-912C-69776540AF2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/>
              <a:t>Information Type:</a:t>
            </a:r>
            <a:br>
              <a:rPr lang="en-US" noProof="0"/>
            </a:br>
            <a:r>
              <a:rPr lang="en-US" noProof="0"/>
              <a:t>Company:  </a:t>
            </a:r>
            <a:br>
              <a:rPr lang="en-US" noProof="0"/>
            </a:br>
            <a:r>
              <a:rPr lang="en-US" noProof="0"/>
              <a:t>Information Owner:</a:t>
            </a:r>
          </a:p>
        </p:txBody>
      </p:sp>
      <p:pic>
        <p:nvPicPr>
          <p:cNvPr id="5" name="NTT DATA Global Logo">
            <a:extLst>
              <a:ext uri="{FF2B5EF4-FFF2-40B4-BE49-F238E27FC236}">
                <a16:creationId xmlns:a16="http://schemas.microsoft.com/office/drawing/2014/main" id="{2F900288-9276-0271-5B36-DA597F55D4E8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11109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_Cover_Light_Imag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4C066D7D-0D2A-E525-7A09-B865124FD30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3352800"/>
            <a:ext cx="12192000" cy="3505200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 marL="914400" indent="0">
              <a:buNone/>
              <a:defRPr>
                <a:noFill/>
              </a:defRPr>
            </a:lvl3pPr>
            <a:lvl4pPr marL="1371600" indent="0">
              <a:buNone/>
              <a:defRPr>
                <a:noFill/>
              </a:defRPr>
            </a:lvl4pPr>
            <a:lvl5pPr marL="1828800" indent="0">
              <a:buNone/>
              <a:defRPr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52800"/>
            <a:ext cx="12192000" cy="35096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image.</a:t>
            </a:r>
            <a:br>
              <a:rPr lang="en-US"/>
            </a:br>
            <a:r>
              <a:rPr lang="en-US"/>
              <a:t>Then Reorder: Send to back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84AF061-2BD7-B395-13B3-8F8BF41722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2050182"/>
            <a:ext cx="11449049" cy="6096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nter the subtitle text</a:t>
            </a:r>
          </a:p>
        </p:txBody>
      </p:sp>
      <p:sp>
        <p:nvSpPr>
          <p:cNvPr id="7" name="MainTitle">
            <a:extLst>
              <a:ext uri="{FF2B5EF4-FFF2-40B4-BE49-F238E27FC236}">
                <a16:creationId xmlns:a16="http://schemas.microsoft.com/office/drawing/2014/main" id="{6B8D68FD-3EFC-86B8-83A6-942558B1B3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412875"/>
            <a:ext cx="11449050" cy="651610"/>
          </a:xfrm>
        </p:spPr>
        <p:txBody>
          <a:bodyPr/>
          <a:lstStyle>
            <a:lvl1pPr>
              <a:defRPr sz="44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4" name="Innovation Curve Over">
            <a:extLst>
              <a:ext uri="{FF2B5EF4-FFF2-40B4-BE49-F238E27FC236}">
                <a16:creationId xmlns:a16="http://schemas.microsoft.com/office/drawing/2014/main" id="{0E296AC8-E4D5-3A7F-3C42-CC289AAB1E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67800" y="3733800"/>
            <a:ext cx="2741663" cy="27432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245BFAB-6256-BF35-C9F5-6D558800765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026140" y="3147301"/>
            <a:ext cx="794384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F45B6080-7233-0809-75A8-E904530DE0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3147301"/>
            <a:ext cx="5123498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Info box">
            <a:extLst>
              <a:ext uri="{FF2B5EF4-FFF2-40B4-BE49-F238E27FC236}">
                <a16:creationId xmlns:a16="http://schemas.microsoft.com/office/drawing/2014/main" id="{979EC8F5-DC72-37F6-85BB-C3ADC50D2DF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/>
              <a:t>Information Type:</a:t>
            </a:r>
            <a:br>
              <a:rPr lang="en-US" noProof="0"/>
            </a:br>
            <a:r>
              <a:rPr lang="en-US" noProof="0"/>
              <a:t>Company:  </a:t>
            </a:r>
            <a:br>
              <a:rPr lang="en-US" noProof="0"/>
            </a:br>
            <a:r>
              <a:rPr lang="en-US" noProof="0"/>
              <a:t>Information Owner:</a:t>
            </a:r>
          </a:p>
        </p:txBody>
      </p:sp>
      <p:pic>
        <p:nvPicPr>
          <p:cNvPr id="4" name="NTT DATA Global Logo">
            <a:extLst>
              <a:ext uri="{FF2B5EF4-FFF2-40B4-BE49-F238E27FC236}">
                <a16:creationId xmlns:a16="http://schemas.microsoft.com/office/drawing/2014/main" id="{93955C0C-38C4-366F-0C4D-7A71C122ED7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583161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0C3BB7C-B4A7-41A4-8C5A-903570B607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9C53063-1F58-BE27-2E94-7E00DE7726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F1EE05E-1EF3-FA88-09CC-87DB6B5818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322451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B4CF512-82E1-2689-F640-DDFFDD4CD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9ED1C7-0FF1-008B-4E0C-83259A7B61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16063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5507850" cy="48244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9A13345-D8EA-438A-8BA9-E88672B7CBE9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6311325" y="1412875"/>
            <a:ext cx="5507850" cy="48244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116870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and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26BC249-E151-BB39-D3D5-813D011EC4DE}"/>
              </a:ext>
            </a:extLst>
          </p:cNvPr>
          <p:cNvSpPr>
            <a:spLocks noGrp="1"/>
          </p:cNvSpPr>
          <p:nvPr>
            <p:ph idx="24" hasCustomPrompt="1"/>
          </p:nvPr>
        </p:nvSpPr>
        <p:spPr bwMode="gray">
          <a:xfrm>
            <a:off x="4267200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AB7751F-4652-AD3B-A81E-E9DD7E8ECF31}"/>
              </a:ext>
            </a:extLst>
          </p:cNvPr>
          <p:cNvSpPr>
            <a:spLocks noGrp="1"/>
          </p:cNvSpPr>
          <p:nvPr>
            <p:ph idx="25" hasCustomPrompt="1"/>
          </p:nvPr>
        </p:nvSpPr>
        <p:spPr bwMode="gray">
          <a:xfrm>
            <a:off x="816292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3993282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Subtitle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332399"/>
          </a:xfrm>
        </p:spPr>
        <p:txBody>
          <a:bodyPr vert="horz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4" y="1412875"/>
            <a:ext cx="11449049" cy="48244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9E5DDFBC-BBD8-FCF3-FDD5-BDAF7615B1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475" y="728663"/>
            <a:ext cx="11449050" cy="28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097457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Blank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70326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Future Blu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87ED33-6A4E-4B88-9978-60E9E0EBFC9F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NTT DATA Global Logo">
            <a:extLst>
              <a:ext uri="{FF2B5EF4-FFF2-40B4-BE49-F238E27FC236}">
                <a16:creationId xmlns:a16="http://schemas.microsoft.com/office/drawing/2014/main" id="{3F03F05C-59F6-715B-5A33-907AD87C66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03287" y="2880000"/>
            <a:ext cx="5385427" cy="10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82886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Blank_Light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BB093E97-7B76-EAE6-8B05-F60EEDCE94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C15EF50-5A96-90F8-F18A-9D8143A4FF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94966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Full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0077599-73C2-4B77-944D-C34B64F408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/>
          </a:solidFill>
        </p:spPr>
        <p:txBody>
          <a:bodyPr anchor="ctr" anchorCtr="0"/>
          <a:lstStyle>
            <a:lvl1pPr algn="ctr">
              <a:defRPr sz="2000">
                <a:solidFill>
                  <a:srgbClr val="0072BC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473574-5E40-4F4B-82BD-ECFABA52E2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CCAE21C-42ED-4CFD-A1E1-FE234323EC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5194300"/>
            <a:ext cx="12192000" cy="1663700"/>
          </a:xfr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5F7F56A-370B-17D8-1574-7040765412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E04D86C-67F3-2898-A9B9-7C78B586F2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NTT DATA Global Logo" descr="NTT DATA Global Logo">
            <a:extLst>
              <a:ext uri="{FF2B5EF4-FFF2-40B4-BE49-F238E27FC236}">
                <a16:creationId xmlns:a16="http://schemas.microsoft.com/office/drawing/2014/main" id="{AAC9A100-4458-748B-AE62-3E3DB5DF4514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800" kern="1200">
                <a:noFill/>
                <a:latin typeface="+mn-lt"/>
                <a:ea typeface="+mn-ea"/>
                <a:cs typeface="+mn-cs"/>
              </a:defRPr>
            </a:lvl2pPr>
            <a:lvl3pPr marL="536575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3pPr>
            <a:lvl4pPr marL="804863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600" kern="1200">
                <a:noFill/>
                <a:latin typeface="+mn-lt"/>
                <a:ea typeface="+mn-ea"/>
                <a:cs typeface="+mn-cs"/>
              </a:defRPr>
            </a:lvl4pPr>
            <a:lvl5pPr marL="1077913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2500274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Righ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318A9578-38C1-F618-D2D6-E94DBB278B98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5340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6E0CB35-CBF9-AFA5-830C-F4D86F08897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153400" y="5202000"/>
            <a:ext cx="4038600" cy="1656000"/>
          </a:xfr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NTT DATA Global Logo" descr="NTT DATA Global Logo">
            <a:extLst>
              <a:ext uri="{FF2B5EF4-FFF2-40B4-BE49-F238E27FC236}">
                <a16:creationId xmlns:a16="http://schemas.microsoft.com/office/drawing/2014/main" id="{5082467D-38B1-0541-A8E7-DD846D36F5B1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800" kern="1200">
                <a:noFill/>
                <a:latin typeface="+mn-lt"/>
                <a:ea typeface="+mn-ea"/>
                <a:cs typeface="+mn-cs"/>
              </a:defRPr>
            </a:lvl2pPr>
            <a:lvl3pPr marL="536575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3pPr>
            <a:lvl4pPr marL="804863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600" kern="1200">
                <a:noFill/>
                <a:latin typeface="+mn-lt"/>
                <a:ea typeface="+mn-ea"/>
                <a:cs typeface="+mn-cs"/>
              </a:defRPr>
            </a:lvl4pPr>
            <a:lvl5pPr marL="1077913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6869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Lef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F7A191D-6071-E779-7F2E-34886D0882B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586909" y="333375"/>
            <a:ext cx="7233616" cy="79200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9629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A5DF90C5-2F99-EF32-CBEA-23287BDE244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338956" y="6563358"/>
            <a:ext cx="3524884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80625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Bottom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52800"/>
            <a:ext cx="12192000" cy="35096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image.</a:t>
            </a:r>
            <a:br>
              <a:rPr lang="en-US"/>
            </a:br>
            <a:r>
              <a:rPr lang="en-US"/>
              <a:t>Then Reorder: Send to back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008BF2A-3887-409B-2567-9779543E991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12192000" cy="1656000"/>
          </a:xfr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7A8D542-4123-5D52-32A8-5A10FF2E7D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F919FBB-9A4E-7FAD-B0F2-5D660792C3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itle 5">
            <a:extLst>
              <a:ext uri="{FF2B5EF4-FFF2-40B4-BE49-F238E27FC236}">
                <a16:creationId xmlns:a16="http://schemas.microsoft.com/office/drawing/2014/main" id="{685F5729-4D42-77C1-FCC6-A3E027B0D9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NTT DATA Global Logo" descr="NTT DATA Global Logo">
            <a:extLst>
              <a:ext uri="{FF2B5EF4-FFF2-40B4-BE49-F238E27FC236}">
                <a16:creationId xmlns:a16="http://schemas.microsoft.com/office/drawing/2014/main" id="{331DD0DE-B5CC-A60D-D998-80C96B7B6CAD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800" kern="1200">
                <a:noFill/>
                <a:latin typeface="+mn-lt"/>
                <a:ea typeface="+mn-ea"/>
                <a:cs typeface="+mn-cs"/>
              </a:defRPr>
            </a:lvl2pPr>
            <a:lvl3pPr marL="536575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3pPr>
            <a:lvl4pPr marL="804863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600" kern="1200">
                <a:noFill/>
                <a:latin typeface="+mn-lt"/>
                <a:ea typeface="+mn-ea"/>
                <a:cs typeface="+mn-cs"/>
              </a:defRPr>
            </a:lvl4pPr>
            <a:lvl5pPr marL="1077913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7974878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Pictures Thre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799AD32-EACB-40FD-ACFA-9178E8D0035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" y="1412875"/>
            <a:ext cx="4015999" cy="2772000"/>
          </a:xfr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C73D5620-2B8C-49E1-ADF3-9ADE2BF3BA3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88000" y="1412875"/>
            <a:ext cx="4015999" cy="2772000"/>
          </a:xfr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31D45D1-5334-4DD5-8154-DAD52B3C397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75999" y="1412875"/>
            <a:ext cx="4015999" cy="2772000"/>
          </a:xfr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46144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Collection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877779" y="3987605"/>
            <a:ext cx="5371355" cy="224968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95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Insert photo here</a:t>
            </a:r>
          </a:p>
        </p:txBody>
      </p:sp>
      <p:sp>
        <p:nvSpPr>
          <p:cNvPr id="13" name="Rounded Rectangl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349318" y="2163386"/>
            <a:ext cx="2484125" cy="2675053"/>
          </a:xfrm>
          <a:prstGeom prst="roundRect">
            <a:avLst>
              <a:gd name="adj" fmla="val 0"/>
            </a:avLst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6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71475" y="333373"/>
            <a:ext cx="4419959" cy="3547536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Insert photo here</a:t>
            </a:r>
          </a:p>
        </p:txBody>
      </p:sp>
      <p:sp>
        <p:nvSpPr>
          <p:cNvPr id="14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349318" y="2140170"/>
            <a:ext cx="2484124" cy="268069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Insert photo here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371475" y="2422522"/>
            <a:ext cx="4419959" cy="145838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902048" y="333375"/>
            <a:ext cx="4347085" cy="3555695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lIns="108000" anchor="ctr"/>
          <a:lstStyle>
            <a:lvl1pPr marL="0" indent="0" algn="l">
              <a:lnSpc>
                <a:spcPct val="100000"/>
              </a:lnSpc>
              <a:tabLst/>
              <a:defRPr sz="3200" b="1">
                <a:solidFill>
                  <a:schemeClr val="bg1"/>
                </a:solidFill>
                <a:effectLst/>
                <a:latin typeface="+mn-lt"/>
                <a:cs typeface="Arial"/>
              </a:defRPr>
            </a:lvl1pPr>
            <a:lvl2pPr marL="0" indent="0" algn="l">
              <a:lnSpc>
                <a:spcPct val="100000"/>
              </a:lnSpc>
              <a:defRPr>
                <a:solidFill>
                  <a:schemeClr val="bg1"/>
                </a:solidFill>
                <a:effectLst/>
                <a:latin typeface="+mn-lt"/>
                <a:cs typeface="Arial"/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359747" y="333375"/>
            <a:ext cx="2474100" cy="1700963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9359747" y="3744196"/>
            <a:ext cx="2474099" cy="107666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3987606"/>
            <a:ext cx="3420269" cy="2249682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lIns="108000" anchor="ctr"/>
          <a:lstStyle>
            <a:lvl1pPr algn="l">
              <a:lnSpc>
                <a:spcPct val="100000"/>
              </a:lnSpc>
              <a:defRPr sz="2667" b="1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tx2"/>
                </a:solidFill>
              </a:defRPr>
            </a:lvl2pPr>
            <a:lvl3pPr algn="l">
              <a:defRPr>
                <a:solidFill>
                  <a:schemeClr val="tx2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877779" y="5399590"/>
            <a:ext cx="5371355" cy="837698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9349318" y="4926695"/>
            <a:ext cx="2471207" cy="1310593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BA9505-91C7-B9FF-4651-787D86C3BED1}"/>
              </a:ext>
            </a:extLst>
          </p:cNvPr>
          <p:cNvSpPr txBox="1"/>
          <p:nvPr userDrawn="1"/>
        </p:nvSpPr>
        <p:spPr>
          <a:xfrm>
            <a:off x="3685309" y="-803564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err="1">
              <a:solidFill>
                <a:srgbClr val="FFFFFF"/>
              </a:solidFill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9C35B40-A84A-00D6-5FD3-6FD80F61E8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FC1EFC3-6CA1-181A-9D7F-24D4581B21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640516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_Closing Slide Whi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NTT DATA Global Logo">
            <a:extLst>
              <a:ext uri="{FF2B5EF4-FFF2-40B4-BE49-F238E27FC236}">
                <a16:creationId xmlns:a16="http://schemas.microsoft.com/office/drawing/2014/main" id="{01F40004-0B55-0534-B49E-3160E9FA2E1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03287" y="2880000"/>
            <a:ext cx="5385427" cy="10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99684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_Closing Slide Future Blue with Pictur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TT DATA Global Logo" descr="NTT DATA Global Logo">
            <a:extLst>
              <a:ext uri="{FF2B5EF4-FFF2-40B4-BE49-F238E27FC236}">
                <a16:creationId xmlns:a16="http://schemas.microsoft.com/office/drawing/2014/main" id="{98CC4E28-4615-54DE-9A23-19AE8504C324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 bwMode="black">
          <a:xfrm>
            <a:off x="3403200" y="2879266"/>
            <a:ext cx="5385600" cy="109946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FB17ABEB-CE11-6DFE-1EDF-82662ED8C95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image. Then reorder: Send to back</a:t>
            </a:r>
          </a:p>
        </p:txBody>
      </p:sp>
    </p:spTree>
    <p:extLst>
      <p:ext uri="{BB962C8B-B14F-4D97-AF65-F5344CB8AC3E}">
        <p14:creationId xmlns:p14="http://schemas.microsoft.com/office/powerpoint/2010/main" val="119993878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mage Lef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286000"/>
            <a:ext cx="7315200" cy="3951288"/>
          </a:xfrm>
        </p:spPr>
        <p:txBody>
          <a:bodyPr/>
          <a:lstStyle>
            <a:lvl1pPr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/>
              <a:t>Divider Page Text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#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CBAA2EA5-06E3-8691-22FA-AE783265C86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E201FA-14DE-26F5-5B59-34540918F7C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7D78CB3-8E2A-426A-73F0-19178ABAA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495800" y="6563358"/>
            <a:ext cx="320294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0D19329-B7C0-CE48-A2F3-05D87FD03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777162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12499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49224E-6D9A-F20A-E95C-3BD86FD1C3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45720" rIns="0" bIns="45720" rtlCol="0" anchor="t">
            <a:noAutofit/>
          </a:bodyPr>
          <a:lstStyle>
            <a:lvl1pPr>
              <a:defRPr lang="en-US"/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09431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Curve on Righ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2286000"/>
            <a:ext cx="7315200" cy="3886200"/>
          </a:xfrm>
        </p:spPr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/>
              <a:t>Divider Page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#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7D78CB3-8E2A-426A-73F0-19178ABAA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0D19329-B7C0-CE48-A2F3-05D87FD03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7" name="Picture 6">
            <a:extLst>
              <a:ext uri="{FF2B5EF4-FFF2-40B4-BE49-F238E27FC236}">
                <a16:creationId xmlns:a16="http://schemas.microsoft.com/office/drawing/2014/main" id="{8E54CF47-5670-1E36-A01C-CE6BD5FD4E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70773" y="2431973"/>
            <a:ext cx="3740227" cy="3740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406936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 Curve Image Lef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725B5FD-E0E9-1E4B-5EFE-D46E0910A6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433116"/>
            <a:ext cx="7315200" cy="3739084"/>
          </a:xfrm>
        </p:spPr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/>
              <a:t>Divider Page</a:t>
            </a:r>
          </a:p>
        </p:txBody>
      </p:sp>
      <p:sp>
        <p:nvSpPr>
          <p:cNvPr id="12" name="Section Number">
            <a:extLst>
              <a:ext uri="{FF2B5EF4-FFF2-40B4-BE49-F238E27FC236}">
                <a16:creationId xmlns:a16="http://schemas.microsoft.com/office/drawing/2014/main" id="{4337322C-F1A6-A8D5-2662-80C365ECE1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#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795E080-1F31-4238-044C-F377C0E253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218376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ACFAEF6-C002-CEF8-D12E-35B10EFF2E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Picture 6">
            <a:extLst>
              <a:ext uri="{FF2B5EF4-FFF2-40B4-BE49-F238E27FC236}">
                <a16:creationId xmlns:a16="http://schemas.microsoft.com/office/drawing/2014/main" id="{AE44EF5E-6648-1398-B4E7-717D749EE9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575" y="2447060"/>
            <a:ext cx="3718800" cy="3718800"/>
          </a:xfrm>
          <a:prstGeom prst="rect">
            <a:avLst/>
          </a:prstGeom>
        </p:spPr>
      </p:pic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C74CB7FF-BF38-583F-EB84-775D76F699B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71475" y="2447060"/>
            <a:ext cx="3718800" cy="3718800"/>
          </a:xfrm>
          <a:custGeom>
            <a:avLst/>
            <a:gdLst>
              <a:gd name="connsiteX0" fmla="*/ 1704548 w 5267271"/>
              <a:gd name="connsiteY0" fmla="*/ 0 h 5272719"/>
              <a:gd name="connsiteX1" fmla="*/ 3527745 w 5267271"/>
              <a:gd name="connsiteY1" fmla="*/ 1774521 h 5272719"/>
              <a:gd name="connsiteX2" fmla="*/ 5267271 w 5267271"/>
              <a:gd name="connsiteY2" fmla="*/ 5269498 h 5272719"/>
              <a:gd name="connsiteX3" fmla="*/ 3509088 w 5267271"/>
              <a:gd name="connsiteY3" fmla="*/ 5269044 h 5272719"/>
              <a:gd name="connsiteX4" fmla="*/ 1794302 w 5267271"/>
              <a:gd name="connsiteY4" fmla="*/ 1858626 h 5272719"/>
              <a:gd name="connsiteX5" fmla="*/ 1794667 w 5267271"/>
              <a:gd name="connsiteY5" fmla="*/ 5270472 h 5272719"/>
              <a:gd name="connsiteX6" fmla="*/ 0 w 5267271"/>
              <a:gd name="connsiteY6" fmla="*/ 5272719 h 5272719"/>
              <a:gd name="connsiteX7" fmla="*/ 3384 w 5267271"/>
              <a:gd name="connsiteY7" fmla="*/ 1714773 h 5272719"/>
              <a:gd name="connsiteX8" fmla="*/ 569360 w 5267271"/>
              <a:gd name="connsiteY8" fmla="*/ 333790 h 5272719"/>
              <a:gd name="connsiteX9" fmla="*/ 1704548 w 5267271"/>
              <a:gd name="connsiteY9" fmla="*/ 0 h 5272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67271" h="5272719">
                <a:moveTo>
                  <a:pt x="1704548" y="0"/>
                </a:moveTo>
                <a:cubicBezTo>
                  <a:pt x="2442328" y="19929"/>
                  <a:pt x="2925708" y="438914"/>
                  <a:pt x="3527745" y="1774521"/>
                </a:cubicBezTo>
                <a:lnTo>
                  <a:pt x="5267271" y="5269498"/>
                </a:lnTo>
                <a:lnTo>
                  <a:pt x="3509088" y="5269044"/>
                </a:lnTo>
                <a:cubicBezTo>
                  <a:pt x="2932089" y="4085847"/>
                  <a:pt x="2376159" y="3052885"/>
                  <a:pt x="1794302" y="1858626"/>
                </a:cubicBezTo>
                <a:cubicBezTo>
                  <a:pt x="1800510" y="2806405"/>
                  <a:pt x="1797959" y="3550976"/>
                  <a:pt x="1794667" y="5270472"/>
                </a:cubicBezTo>
                <a:lnTo>
                  <a:pt x="0" y="5272719"/>
                </a:lnTo>
                <a:cubicBezTo>
                  <a:pt x="6041" y="3933998"/>
                  <a:pt x="-2660" y="3106972"/>
                  <a:pt x="3384" y="1714773"/>
                </a:cubicBezTo>
                <a:cubicBezTo>
                  <a:pt x="20552" y="931022"/>
                  <a:pt x="285832" y="562108"/>
                  <a:pt x="569360" y="333790"/>
                </a:cubicBezTo>
                <a:cubicBezTo>
                  <a:pt x="852888" y="105472"/>
                  <a:pt x="1272212" y="9538"/>
                  <a:pt x="1704548" y="0"/>
                </a:cubicBezTo>
                <a:close/>
              </a:path>
            </a:pathLst>
          </a:custGeom>
          <a:solidFill>
            <a:schemeClr val="accent6"/>
          </a:solidFill>
          <a:ln w="12700">
            <a:noFill/>
          </a:ln>
          <a:effectLst/>
        </p:spPr>
        <p:txBody>
          <a:bodyPr wrap="none" lIns="0" tIns="1371600" rIns="0" anchor="t">
            <a:noAutofit/>
          </a:bodyPr>
          <a:lstStyle>
            <a:lvl1pPr marL="0" indent="0" algn="ctr">
              <a:buFontTx/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590402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992710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09FEE01-6D38-4AFF-8E39-8403A0C9ED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BA91AD-94D7-45DB-9DC0-AA0B54CD6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875DB9-62CF-4691-983F-E0B1CA6CEB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C2FECC32-09FA-4F0A-99B9-53FF86115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24098094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  <p15:guide id="5" orient="horz" pos="288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uccess Story (Unnam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57200"/>
            <a:ext cx="41148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7” x ‘ 4.5” @ 96dpi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endParaRPr lang="en-US"/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7B60F81-633F-4646-AA98-205101671A2A}"/>
              </a:ext>
            </a:extLst>
          </p:cNvPr>
          <p:cNvGraphicFramePr>
            <a:graphicFrameLocks noGrp="1"/>
          </p:cNvGraphicFramePr>
          <p:nvPr userDrawn="1"/>
        </p:nvGraphicFramePr>
        <p:xfrm>
          <a:off x="4419600" y="1231508"/>
          <a:ext cx="7467600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780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6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siness need</a:t>
                      </a:r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18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6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</a:p>
                  </a:txBody>
                  <a:tcPr marL="0" marR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18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6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utcomes</a:t>
                      </a:r>
                    </a:p>
                  </a:txBody>
                  <a:tcPr marL="0" marR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9" name="Title 3">
            <a:extLst>
              <a:ext uri="{FF2B5EF4-FFF2-40B4-BE49-F238E27FC236}">
                <a16:creationId xmlns:a16="http://schemas.microsoft.com/office/drawing/2014/main" id="{4403474F-4C11-4C2F-9EC3-2AA63BBDF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9600" y="549046"/>
            <a:ext cx="6414655" cy="55220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defRPr lang="en-US" sz="1800" b="1" dirty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Published Case Study Headline in Title Cas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834197-400F-446C-8C06-80562BDF75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19599" y="1717037"/>
            <a:ext cx="2359152" cy="3683175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sz="1050">
                <a:solidFill>
                  <a:schemeClr val="tx1"/>
                </a:solidFill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endParaRPr lang="en-GB" sz="1050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09CAB2B-0D59-4F3A-8262-32034F757D1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81825" y="1717037"/>
            <a:ext cx="2359152" cy="3683175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kumimoji="1" lang="en-GB" sz="105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endParaRPr lang="en-US" sz="105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4C75FEB-4BF0-4940-9459-71F22DCD8AD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528048" y="1717037"/>
            <a:ext cx="2359152" cy="3683175"/>
          </a:xfrm>
          <a:prstGeom prst="rect">
            <a:avLst/>
          </a:prstGeom>
        </p:spPr>
        <p:txBody>
          <a:bodyPr lIns="0"/>
          <a:lstStyle>
            <a:lvl1pPr marL="55563" indent="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Tx/>
              <a:buNone/>
              <a:defRPr kumimoji="1" lang="en-GB" sz="105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pPr marL="227013" marR="0" lvl="0" indent="-171450" algn="l" defTabSz="60955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1" lang="en-US" sz="1050">
              <a:solidFill>
                <a:srgbClr val="444444"/>
              </a:solidFill>
              <a:ea typeface="Museo Sans For Dell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5558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ractice Snap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" y="1802837"/>
            <a:ext cx="12191999" cy="7117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650"/>
          </a:p>
        </p:txBody>
      </p:sp>
      <p:sp>
        <p:nvSpPr>
          <p:cNvPr id="3" name="Title Placeholder 1"/>
          <p:cNvSpPr>
            <a:spLocks noGrp="1"/>
          </p:cNvSpPr>
          <p:nvPr>
            <p:ph type="title"/>
          </p:nvPr>
        </p:nvSpPr>
        <p:spPr>
          <a:xfrm>
            <a:off x="379511" y="779318"/>
            <a:ext cx="3426346" cy="68299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100000"/>
              </a:lnSpc>
              <a:defRPr sz="16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0480" y="3130693"/>
            <a:ext cx="2500316" cy="2797478"/>
          </a:xfrm>
        </p:spPr>
        <p:txBody>
          <a:bodyPr>
            <a:noAutofit/>
          </a:bodyPr>
          <a:lstStyle>
            <a:lvl1pPr marL="155859" indent="-15585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55"/>
            </a:lvl1pPr>
            <a:lvl2pPr marL="311719" indent="-12468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818"/>
            </a:lvl2pPr>
            <a:lvl3pPr marL="498750" indent="-12468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750"/>
            </a:lvl3pPr>
            <a:lvl4pPr marL="654610" indent="-12468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716"/>
            </a:lvl4pPr>
            <a:lvl5pPr marL="810469" indent="-12468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716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79513" y="1506682"/>
            <a:ext cx="3426344" cy="280297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750" b="1" baseline="0"/>
            </a:lvl1pPr>
            <a:lvl2pPr marL="187031" indent="0">
              <a:buNone/>
              <a:defRPr/>
            </a:lvl2pPr>
            <a:lvl3pPr marL="374063" indent="0">
              <a:buNone/>
              <a:defRPr/>
            </a:lvl3pPr>
            <a:lvl4pPr marL="529922" indent="0">
              <a:buNone/>
              <a:defRPr/>
            </a:lvl4pPr>
            <a:lvl5pPr marL="685782" indent="0">
              <a:buNone/>
              <a:defRPr/>
            </a:lvl5pPr>
          </a:lstStyle>
          <a:p>
            <a:pPr lvl="0"/>
            <a:r>
              <a:rPr lang="en-US"/>
              <a:t>Sub-title text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8"/>
          </p:nvPr>
        </p:nvSpPr>
        <p:spPr>
          <a:xfrm>
            <a:off x="9284068" y="3126883"/>
            <a:ext cx="2667798" cy="2794561"/>
          </a:xfrm>
        </p:spPr>
        <p:txBody>
          <a:bodyPr>
            <a:noAutofit/>
          </a:bodyPr>
          <a:lstStyle>
            <a:lvl1pPr marL="155859" indent="-15585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55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Text Placeholder 25"/>
          <p:cNvSpPr>
            <a:spLocks noGrp="1"/>
          </p:cNvSpPr>
          <p:nvPr userDrawn="1">
            <p:ph type="body" sz="quarter" idx="19"/>
          </p:nvPr>
        </p:nvSpPr>
        <p:spPr>
          <a:xfrm>
            <a:off x="3267436" y="3130692"/>
            <a:ext cx="2650696" cy="2797479"/>
          </a:xfrm>
        </p:spPr>
        <p:txBody>
          <a:bodyPr>
            <a:noAutofit/>
          </a:bodyPr>
          <a:lstStyle>
            <a:lvl1pPr marL="155859" indent="-15585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55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2971800" y="2596078"/>
            <a:ext cx="6019800" cy="3430649"/>
            <a:chOff x="3789045" y="3659045"/>
            <a:chExt cx="7675245" cy="5180155"/>
          </a:xfrm>
        </p:grpSpPr>
        <p:cxnSp>
          <p:nvCxnSpPr>
            <p:cNvPr id="20" name="Straight Connector 19"/>
            <p:cNvCxnSpPr/>
            <p:nvPr userDrawn="1"/>
          </p:nvCxnSpPr>
          <p:spPr>
            <a:xfrm>
              <a:off x="3789045" y="3669065"/>
              <a:ext cx="0" cy="5170135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prstDash val="dash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7675245" y="3669065"/>
              <a:ext cx="0" cy="5170135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prstDash val="dash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464290" y="3659045"/>
              <a:ext cx="0" cy="5170135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prstDash val="dash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Text Placeholder 9"/>
          <p:cNvSpPr>
            <a:spLocks noGrp="1"/>
          </p:cNvSpPr>
          <p:nvPr userDrawn="1">
            <p:ph type="body" sz="quarter" idx="20"/>
          </p:nvPr>
        </p:nvSpPr>
        <p:spPr>
          <a:xfrm>
            <a:off x="6304773" y="3126883"/>
            <a:ext cx="2579631" cy="2801288"/>
          </a:xfrm>
        </p:spPr>
        <p:txBody>
          <a:bodyPr>
            <a:noAutofit/>
          </a:bodyPr>
          <a:lstStyle>
            <a:lvl1pPr marL="155859" indent="-15585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55"/>
            </a:lvl1pPr>
            <a:lvl2pPr marL="311719" indent="-12468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818"/>
            </a:lvl2pPr>
            <a:lvl3pPr marL="498750" indent="-12468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750"/>
            </a:lvl3pPr>
            <a:lvl4pPr marL="654610" indent="-12468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716"/>
            </a:lvl4pPr>
            <a:lvl5pPr marL="810469" indent="-12468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716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35" name="Straight Connector 34"/>
          <p:cNvCxnSpPr/>
          <p:nvPr userDrawn="1"/>
        </p:nvCxnSpPr>
        <p:spPr>
          <a:xfrm flipH="1">
            <a:off x="1" y="6096000"/>
            <a:ext cx="12191999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 userDrawn="1"/>
        </p:nvSpPr>
        <p:spPr>
          <a:xfrm>
            <a:off x="637231" y="2727876"/>
            <a:ext cx="2439903" cy="1623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71365">
              <a:lnSpc>
                <a:spcPct val="90000"/>
              </a:lnSpc>
            </a:pPr>
            <a:r>
              <a:rPr kumimoji="0" lang="en-US" sz="1091" b="1">
                <a:solidFill>
                  <a:srgbClr val="6785C1"/>
                </a:solidFill>
              </a:rPr>
              <a:t>INSIGHTS</a:t>
            </a:r>
          </a:p>
        </p:txBody>
      </p:sp>
      <p:sp>
        <p:nvSpPr>
          <p:cNvPr id="31" name="TextBox 30"/>
          <p:cNvSpPr txBox="1"/>
          <p:nvPr userDrawn="1"/>
        </p:nvSpPr>
        <p:spPr>
          <a:xfrm>
            <a:off x="3588041" y="2727876"/>
            <a:ext cx="2337605" cy="1623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71365">
              <a:lnSpc>
                <a:spcPct val="90000"/>
              </a:lnSpc>
            </a:pPr>
            <a:r>
              <a:rPr kumimoji="0" lang="en-US" sz="1091" b="1">
                <a:solidFill>
                  <a:srgbClr val="6785C1"/>
                </a:solidFill>
              </a:rPr>
              <a:t>SOLUTIONS</a:t>
            </a:r>
          </a:p>
        </p:txBody>
      </p:sp>
      <p:sp>
        <p:nvSpPr>
          <p:cNvPr id="33" name="TextBox 32"/>
          <p:cNvSpPr txBox="1"/>
          <p:nvPr userDrawn="1"/>
        </p:nvSpPr>
        <p:spPr>
          <a:xfrm>
            <a:off x="9584857" y="2727876"/>
            <a:ext cx="2266820" cy="2138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71365">
              <a:lnSpc>
                <a:spcPct val="90000"/>
              </a:lnSpc>
            </a:pPr>
            <a:r>
              <a:rPr kumimoji="0" lang="en-US" sz="1091" b="1">
                <a:solidFill>
                  <a:srgbClr val="6785C1"/>
                </a:solidFill>
              </a:rPr>
              <a:t>AWARDS &amp; ALLIANCES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3530" y="2696347"/>
            <a:ext cx="270762" cy="225372"/>
          </a:xfrm>
          <a:prstGeom prst="rect">
            <a:avLst/>
          </a:prstGeom>
        </p:spPr>
      </p:pic>
      <p:sp>
        <p:nvSpPr>
          <p:cNvPr id="39" name="TextBox 38"/>
          <p:cNvSpPr txBox="1"/>
          <p:nvPr userDrawn="1"/>
        </p:nvSpPr>
        <p:spPr>
          <a:xfrm>
            <a:off x="6677942" y="2727876"/>
            <a:ext cx="2176733" cy="19407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71365">
              <a:lnSpc>
                <a:spcPct val="90000"/>
              </a:lnSpc>
            </a:pPr>
            <a:r>
              <a:rPr kumimoji="0" lang="en-US" sz="1091" b="1">
                <a:solidFill>
                  <a:srgbClr val="6785C1"/>
                </a:solidFill>
              </a:rPr>
              <a:t>Value Proposition </a:t>
            </a:r>
          </a:p>
        </p:txBody>
      </p:sp>
      <p:sp>
        <p:nvSpPr>
          <p:cNvPr id="40" name="Freeform 5"/>
          <p:cNvSpPr>
            <a:spLocks noEditPoints="1"/>
          </p:cNvSpPr>
          <p:nvPr userDrawn="1"/>
        </p:nvSpPr>
        <p:spPr bwMode="auto">
          <a:xfrm>
            <a:off x="3292490" y="2675960"/>
            <a:ext cx="295552" cy="285449"/>
          </a:xfrm>
          <a:custGeom>
            <a:avLst/>
            <a:gdLst>
              <a:gd name="T0" fmla="*/ 861 w 1153"/>
              <a:gd name="T1" fmla="*/ 371 h 1113"/>
              <a:gd name="T2" fmla="*/ 703 w 1153"/>
              <a:gd name="T3" fmla="*/ 244 h 1113"/>
              <a:gd name="T4" fmla="*/ 703 w 1153"/>
              <a:gd name="T5" fmla="*/ 332 h 1113"/>
              <a:gd name="T6" fmla="*/ 557 w 1153"/>
              <a:gd name="T7" fmla="*/ 332 h 1113"/>
              <a:gd name="T8" fmla="*/ 557 w 1153"/>
              <a:gd name="T9" fmla="*/ 410 h 1113"/>
              <a:gd name="T10" fmla="*/ 703 w 1153"/>
              <a:gd name="T11" fmla="*/ 410 h 1113"/>
              <a:gd name="T12" fmla="*/ 703 w 1153"/>
              <a:gd name="T13" fmla="*/ 502 h 1113"/>
              <a:gd name="T14" fmla="*/ 861 w 1153"/>
              <a:gd name="T15" fmla="*/ 371 h 1113"/>
              <a:gd name="T16" fmla="*/ 473 w 1153"/>
              <a:gd name="T17" fmla="*/ 506 h 1113"/>
              <a:gd name="T18" fmla="*/ 473 w 1153"/>
              <a:gd name="T19" fmla="*/ 104 h 1113"/>
              <a:gd name="T20" fmla="*/ 826 w 1153"/>
              <a:gd name="T21" fmla="*/ 104 h 1113"/>
              <a:gd name="T22" fmla="*/ 826 w 1153"/>
              <a:gd name="T23" fmla="*/ 26 h 1113"/>
              <a:gd name="T24" fmla="*/ 404 w 1153"/>
              <a:gd name="T25" fmla="*/ 26 h 1113"/>
              <a:gd name="T26" fmla="*/ 404 w 1153"/>
              <a:gd name="T27" fmla="*/ 506 h 1113"/>
              <a:gd name="T28" fmla="*/ 473 w 1153"/>
              <a:gd name="T29" fmla="*/ 506 h 1113"/>
              <a:gd name="T30" fmla="*/ 946 w 1153"/>
              <a:gd name="T31" fmla="*/ 104 h 1113"/>
              <a:gd name="T32" fmla="*/ 946 w 1153"/>
              <a:gd name="T33" fmla="*/ 642 h 1113"/>
              <a:gd name="T34" fmla="*/ 473 w 1153"/>
              <a:gd name="T35" fmla="*/ 642 h 1113"/>
              <a:gd name="T36" fmla="*/ 473 w 1153"/>
              <a:gd name="T37" fmla="*/ 532 h 1113"/>
              <a:gd name="T38" fmla="*/ 381 w 1153"/>
              <a:gd name="T39" fmla="*/ 532 h 1113"/>
              <a:gd name="T40" fmla="*/ 381 w 1153"/>
              <a:gd name="T41" fmla="*/ 0 h 1113"/>
              <a:gd name="T42" fmla="*/ 849 w 1153"/>
              <a:gd name="T43" fmla="*/ 0 h 1113"/>
              <a:gd name="T44" fmla="*/ 849 w 1153"/>
              <a:gd name="T45" fmla="*/ 104 h 1113"/>
              <a:gd name="T46" fmla="*/ 946 w 1153"/>
              <a:gd name="T47" fmla="*/ 104 h 1113"/>
              <a:gd name="T48" fmla="*/ 131 w 1153"/>
              <a:gd name="T49" fmla="*/ 755 h 1113"/>
              <a:gd name="T50" fmla="*/ 0 w 1153"/>
              <a:gd name="T51" fmla="*/ 755 h 1113"/>
              <a:gd name="T52" fmla="*/ 0 w 1153"/>
              <a:gd name="T53" fmla="*/ 1048 h 1113"/>
              <a:gd name="T54" fmla="*/ 131 w 1153"/>
              <a:gd name="T55" fmla="*/ 1048 h 1113"/>
              <a:gd name="T56" fmla="*/ 150 w 1153"/>
              <a:gd name="T57" fmla="*/ 1026 h 1113"/>
              <a:gd name="T58" fmla="*/ 150 w 1153"/>
              <a:gd name="T59" fmla="*/ 773 h 1113"/>
              <a:gd name="T60" fmla="*/ 131 w 1153"/>
              <a:gd name="T61" fmla="*/ 755 h 1113"/>
              <a:gd name="T62" fmla="*/ 1153 w 1153"/>
              <a:gd name="T63" fmla="*/ 877 h 1113"/>
              <a:gd name="T64" fmla="*/ 1107 w 1153"/>
              <a:gd name="T65" fmla="*/ 917 h 1113"/>
              <a:gd name="T66" fmla="*/ 1095 w 1153"/>
              <a:gd name="T67" fmla="*/ 934 h 1113"/>
              <a:gd name="T68" fmla="*/ 1022 w 1153"/>
              <a:gd name="T69" fmla="*/ 1004 h 1113"/>
              <a:gd name="T70" fmla="*/ 880 w 1153"/>
              <a:gd name="T71" fmla="*/ 1069 h 1113"/>
              <a:gd name="T72" fmla="*/ 650 w 1153"/>
              <a:gd name="T73" fmla="*/ 1104 h 1113"/>
              <a:gd name="T74" fmla="*/ 181 w 1153"/>
              <a:gd name="T75" fmla="*/ 1008 h 1113"/>
              <a:gd name="T76" fmla="*/ 181 w 1153"/>
              <a:gd name="T77" fmla="*/ 812 h 1113"/>
              <a:gd name="T78" fmla="*/ 342 w 1153"/>
              <a:gd name="T79" fmla="*/ 733 h 1113"/>
              <a:gd name="T80" fmla="*/ 500 w 1153"/>
              <a:gd name="T81" fmla="*/ 746 h 1113"/>
              <a:gd name="T82" fmla="*/ 627 w 1153"/>
              <a:gd name="T83" fmla="*/ 759 h 1113"/>
              <a:gd name="T84" fmla="*/ 761 w 1153"/>
              <a:gd name="T85" fmla="*/ 738 h 1113"/>
              <a:gd name="T86" fmla="*/ 842 w 1153"/>
              <a:gd name="T87" fmla="*/ 794 h 1113"/>
              <a:gd name="T88" fmla="*/ 773 w 1153"/>
              <a:gd name="T89" fmla="*/ 851 h 1113"/>
              <a:gd name="T90" fmla="*/ 669 w 1153"/>
              <a:gd name="T91" fmla="*/ 847 h 1113"/>
              <a:gd name="T92" fmla="*/ 554 w 1153"/>
              <a:gd name="T93" fmla="*/ 882 h 1113"/>
              <a:gd name="T94" fmla="*/ 680 w 1153"/>
              <a:gd name="T95" fmla="*/ 947 h 1113"/>
              <a:gd name="T96" fmla="*/ 857 w 1153"/>
              <a:gd name="T97" fmla="*/ 952 h 1113"/>
              <a:gd name="T98" fmla="*/ 980 w 1153"/>
              <a:gd name="T99" fmla="*/ 912 h 1113"/>
              <a:gd name="T100" fmla="*/ 1103 w 1153"/>
              <a:gd name="T101" fmla="*/ 842 h 1113"/>
              <a:gd name="T102" fmla="*/ 1153 w 1153"/>
              <a:gd name="T103" fmla="*/ 877 h 1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153" h="1113">
                <a:moveTo>
                  <a:pt x="861" y="371"/>
                </a:moveTo>
                <a:cubicBezTo>
                  <a:pt x="703" y="244"/>
                  <a:pt x="703" y="244"/>
                  <a:pt x="703" y="244"/>
                </a:cubicBezTo>
                <a:cubicBezTo>
                  <a:pt x="703" y="332"/>
                  <a:pt x="703" y="332"/>
                  <a:pt x="703" y="332"/>
                </a:cubicBezTo>
                <a:cubicBezTo>
                  <a:pt x="557" y="332"/>
                  <a:pt x="557" y="332"/>
                  <a:pt x="557" y="332"/>
                </a:cubicBezTo>
                <a:cubicBezTo>
                  <a:pt x="557" y="410"/>
                  <a:pt x="557" y="410"/>
                  <a:pt x="557" y="410"/>
                </a:cubicBezTo>
                <a:cubicBezTo>
                  <a:pt x="703" y="410"/>
                  <a:pt x="703" y="410"/>
                  <a:pt x="703" y="410"/>
                </a:cubicBezTo>
                <a:cubicBezTo>
                  <a:pt x="703" y="502"/>
                  <a:pt x="703" y="502"/>
                  <a:pt x="703" y="502"/>
                </a:cubicBezTo>
                <a:lnTo>
                  <a:pt x="861" y="371"/>
                </a:lnTo>
                <a:close/>
                <a:moveTo>
                  <a:pt x="473" y="506"/>
                </a:moveTo>
                <a:cubicBezTo>
                  <a:pt x="473" y="104"/>
                  <a:pt x="473" y="104"/>
                  <a:pt x="473" y="104"/>
                </a:cubicBezTo>
                <a:cubicBezTo>
                  <a:pt x="826" y="104"/>
                  <a:pt x="826" y="104"/>
                  <a:pt x="826" y="104"/>
                </a:cubicBezTo>
                <a:cubicBezTo>
                  <a:pt x="826" y="26"/>
                  <a:pt x="826" y="26"/>
                  <a:pt x="826" y="26"/>
                </a:cubicBezTo>
                <a:cubicBezTo>
                  <a:pt x="404" y="26"/>
                  <a:pt x="404" y="26"/>
                  <a:pt x="404" y="26"/>
                </a:cubicBezTo>
                <a:cubicBezTo>
                  <a:pt x="404" y="506"/>
                  <a:pt x="404" y="506"/>
                  <a:pt x="404" y="506"/>
                </a:cubicBezTo>
                <a:lnTo>
                  <a:pt x="473" y="506"/>
                </a:lnTo>
                <a:close/>
                <a:moveTo>
                  <a:pt x="946" y="104"/>
                </a:moveTo>
                <a:cubicBezTo>
                  <a:pt x="946" y="642"/>
                  <a:pt x="946" y="642"/>
                  <a:pt x="946" y="642"/>
                </a:cubicBezTo>
                <a:cubicBezTo>
                  <a:pt x="473" y="642"/>
                  <a:pt x="473" y="642"/>
                  <a:pt x="473" y="642"/>
                </a:cubicBezTo>
                <a:cubicBezTo>
                  <a:pt x="473" y="532"/>
                  <a:pt x="473" y="532"/>
                  <a:pt x="473" y="532"/>
                </a:cubicBezTo>
                <a:cubicBezTo>
                  <a:pt x="381" y="532"/>
                  <a:pt x="381" y="532"/>
                  <a:pt x="381" y="532"/>
                </a:cubicBezTo>
                <a:cubicBezTo>
                  <a:pt x="381" y="0"/>
                  <a:pt x="381" y="0"/>
                  <a:pt x="381" y="0"/>
                </a:cubicBezTo>
                <a:cubicBezTo>
                  <a:pt x="849" y="0"/>
                  <a:pt x="849" y="0"/>
                  <a:pt x="849" y="0"/>
                </a:cubicBezTo>
                <a:cubicBezTo>
                  <a:pt x="849" y="104"/>
                  <a:pt x="849" y="104"/>
                  <a:pt x="849" y="104"/>
                </a:cubicBezTo>
                <a:lnTo>
                  <a:pt x="946" y="104"/>
                </a:lnTo>
                <a:close/>
                <a:moveTo>
                  <a:pt x="131" y="755"/>
                </a:moveTo>
                <a:cubicBezTo>
                  <a:pt x="0" y="755"/>
                  <a:pt x="0" y="755"/>
                  <a:pt x="0" y="755"/>
                </a:cubicBezTo>
                <a:cubicBezTo>
                  <a:pt x="0" y="1048"/>
                  <a:pt x="0" y="1048"/>
                  <a:pt x="0" y="1048"/>
                </a:cubicBezTo>
                <a:cubicBezTo>
                  <a:pt x="131" y="1048"/>
                  <a:pt x="131" y="1048"/>
                  <a:pt x="131" y="1048"/>
                </a:cubicBezTo>
                <a:cubicBezTo>
                  <a:pt x="143" y="1048"/>
                  <a:pt x="150" y="1039"/>
                  <a:pt x="150" y="1026"/>
                </a:cubicBezTo>
                <a:cubicBezTo>
                  <a:pt x="150" y="773"/>
                  <a:pt x="150" y="773"/>
                  <a:pt x="150" y="773"/>
                </a:cubicBezTo>
                <a:cubicBezTo>
                  <a:pt x="150" y="764"/>
                  <a:pt x="143" y="755"/>
                  <a:pt x="131" y="755"/>
                </a:cubicBezTo>
                <a:moveTo>
                  <a:pt x="1153" y="877"/>
                </a:moveTo>
                <a:cubicBezTo>
                  <a:pt x="1153" y="877"/>
                  <a:pt x="1149" y="882"/>
                  <a:pt x="1107" y="917"/>
                </a:cubicBezTo>
                <a:cubicBezTo>
                  <a:pt x="1107" y="917"/>
                  <a:pt x="1099" y="934"/>
                  <a:pt x="1095" y="934"/>
                </a:cubicBezTo>
                <a:cubicBezTo>
                  <a:pt x="1076" y="952"/>
                  <a:pt x="1057" y="973"/>
                  <a:pt x="1022" y="1004"/>
                </a:cubicBezTo>
                <a:cubicBezTo>
                  <a:pt x="988" y="1008"/>
                  <a:pt x="915" y="1048"/>
                  <a:pt x="880" y="1069"/>
                </a:cubicBezTo>
                <a:cubicBezTo>
                  <a:pt x="815" y="1065"/>
                  <a:pt x="719" y="1083"/>
                  <a:pt x="650" y="1104"/>
                </a:cubicBezTo>
                <a:cubicBezTo>
                  <a:pt x="550" y="1087"/>
                  <a:pt x="538" y="1113"/>
                  <a:pt x="181" y="1008"/>
                </a:cubicBezTo>
                <a:cubicBezTo>
                  <a:pt x="181" y="812"/>
                  <a:pt x="181" y="812"/>
                  <a:pt x="181" y="812"/>
                </a:cubicBezTo>
                <a:cubicBezTo>
                  <a:pt x="246" y="794"/>
                  <a:pt x="266" y="746"/>
                  <a:pt x="342" y="733"/>
                </a:cubicBezTo>
                <a:cubicBezTo>
                  <a:pt x="396" y="724"/>
                  <a:pt x="446" y="729"/>
                  <a:pt x="500" y="746"/>
                </a:cubicBezTo>
                <a:cubicBezTo>
                  <a:pt x="534" y="759"/>
                  <a:pt x="569" y="768"/>
                  <a:pt x="627" y="759"/>
                </a:cubicBezTo>
                <a:cubicBezTo>
                  <a:pt x="677" y="755"/>
                  <a:pt x="696" y="738"/>
                  <a:pt x="761" y="738"/>
                </a:cubicBezTo>
                <a:cubicBezTo>
                  <a:pt x="803" y="738"/>
                  <a:pt x="846" y="768"/>
                  <a:pt x="842" y="794"/>
                </a:cubicBezTo>
                <a:cubicBezTo>
                  <a:pt x="842" y="821"/>
                  <a:pt x="800" y="847"/>
                  <a:pt x="773" y="851"/>
                </a:cubicBezTo>
                <a:cubicBezTo>
                  <a:pt x="711" y="851"/>
                  <a:pt x="727" y="847"/>
                  <a:pt x="669" y="847"/>
                </a:cubicBezTo>
                <a:cubicBezTo>
                  <a:pt x="600" y="847"/>
                  <a:pt x="596" y="860"/>
                  <a:pt x="554" y="882"/>
                </a:cubicBezTo>
                <a:cubicBezTo>
                  <a:pt x="596" y="895"/>
                  <a:pt x="623" y="912"/>
                  <a:pt x="680" y="947"/>
                </a:cubicBezTo>
                <a:cubicBezTo>
                  <a:pt x="742" y="938"/>
                  <a:pt x="803" y="947"/>
                  <a:pt x="857" y="952"/>
                </a:cubicBezTo>
                <a:cubicBezTo>
                  <a:pt x="903" y="938"/>
                  <a:pt x="926" y="917"/>
                  <a:pt x="980" y="912"/>
                </a:cubicBezTo>
                <a:cubicBezTo>
                  <a:pt x="1015" y="882"/>
                  <a:pt x="1061" y="834"/>
                  <a:pt x="1103" y="842"/>
                </a:cubicBezTo>
                <a:cubicBezTo>
                  <a:pt x="1126" y="847"/>
                  <a:pt x="1153" y="877"/>
                  <a:pt x="1153" y="877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42508" tIns="21254" rIns="42508" bIns="21254" numCol="1" anchor="t" anchorCtr="0" compatLnSpc="1">
            <a:prstTxWarp prst="textNoShape">
              <a:avLst/>
            </a:prstTxWarp>
          </a:bodyPr>
          <a:lstStyle/>
          <a:p>
            <a:pPr defTabSz="571365"/>
            <a:endParaRPr kumimoji="0" lang="en-US" sz="1125">
              <a:solidFill>
                <a:srgbClr val="333333"/>
              </a:solidFill>
            </a:endParaRPr>
          </a:p>
        </p:txBody>
      </p:sp>
      <p:sp>
        <p:nvSpPr>
          <p:cNvPr id="42" name="Freeform 13"/>
          <p:cNvSpPr>
            <a:spLocks noEditPoints="1"/>
          </p:cNvSpPr>
          <p:nvPr userDrawn="1"/>
        </p:nvSpPr>
        <p:spPr bwMode="auto">
          <a:xfrm>
            <a:off x="6275294" y="2681186"/>
            <a:ext cx="358743" cy="258051"/>
          </a:xfrm>
          <a:custGeom>
            <a:avLst/>
            <a:gdLst>
              <a:gd name="T0" fmla="*/ 1151 w 1396"/>
              <a:gd name="T1" fmla="*/ 213 h 1106"/>
              <a:gd name="T2" fmla="*/ 1037 w 1396"/>
              <a:gd name="T3" fmla="*/ 532 h 1106"/>
              <a:gd name="T4" fmla="*/ 626 w 1396"/>
              <a:gd name="T5" fmla="*/ 1103 h 1106"/>
              <a:gd name="T6" fmla="*/ 1238 w 1396"/>
              <a:gd name="T7" fmla="*/ 532 h 1106"/>
              <a:gd name="T8" fmla="*/ 1151 w 1396"/>
              <a:gd name="T9" fmla="*/ 213 h 1106"/>
              <a:gd name="T10" fmla="*/ 589 w 1396"/>
              <a:gd name="T11" fmla="*/ 993 h 1106"/>
              <a:gd name="T12" fmla="*/ 696 w 1396"/>
              <a:gd name="T13" fmla="*/ 830 h 1106"/>
              <a:gd name="T14" fmla="*/ 589 w 1396"/>
              <a:gd name="T15" fmla="*/ 993 h 1106"/>
              <a:gd name="T16" fmla="*/ 589 w 1396"/>
              <a:gd name="T17" fmla="*/ 586 h 1106"/>
              <a:gd name="T18" fmla="*/ 718 w 1396"/>
              <a:gd name="T19" fmla="*/ 747 h 1106"/>
              <a:gd name="T20" fmla="*/ 589 w 1396"/>
              <a:gd name="T21" fmla="*/ 586 h 1106"/>
              <a:gd name="T22" fmla="*/ 589 w 1396"/>
              <a:gd name="T23" fmla="*/ 343 h 1106"/>
              <a:gd name="T24" fmla="*/ 738 w 1396"/>
              <a:gd name="T25" fmla="*/ 503 h 1106"/>
              <a:gd name="T26" fmla="*/ 589 w 1396"/>
              <a:gd name="T27" fmla="*/ 343 h 1106"/>
              <a:gd name="T28" fmla="*/ 589 w 1396"/>
              <a:gd name="T29" fmla="*/ 96 h 1106"/>
              <a:gd name="T30" fmla="*/ 696 w 1396"/>
              <a:gd name="T31" fmla="*/ 260 h 1106"/>
              <a:gd name="T32" fmla="*/ 589 w 1396"/>
              <a:gd name="T33" fmla="*/ 96 h 1106"/>
              <a:gd name="T34" fmla="*/ 505 w 1396"/>
              <a:gd name="T35" fmla="*/ 260 h 1106"/>
              <a:gd name="T36" fmla="*/ 420 w 1396"/>
              <a:gd name="T37" fmla="*/ 206 h 1106"/>
              <a:gd name="T38" fmla="*/ 505 w 1396"/>
              <a:gd name="T39" fmla="*/ 260 h 1106"/>
              <a:gd name="T40" fmla="*/ 505 w 1396"/>
              <a:gd name="T41" fmla="*/ 503 h 1106"/>
              <a:gd name="T42" fmla="*/ 376 w 1396"/>
              <a:gd name="T43" fmla="*/ 343 h 1106"/>
              <a:gd name="T44" fmla="*/ 505 w 1396"/>
              <a:gd name="T45" fmla="*/ 503 h 1106"/>
              <a:gd name="T46" fmla="*/ 505 w 1396"/>
              <a:gd name="T47" fmla="*/ 747 h 1106"/>
              <a:gd name="T48" fmla="*/ 356 w 1396"/>
              <a:gd name="T49" fmla="*/ 586 h 1106"/>
              <a:gd name="T50" fmla="*/ 505 w 1396"/>
              <a:gd name="T51" fmla="*/ 747 h 1106"/>
              <a:gd name="T52" fmla="*/ 505 w 1396"/>
              <a:gd name="T53" fmla="*/ 993 h 1106"/>
              <a:gd name="T54" fmla="*/ 398 w 1396"/>
              <a:gd name="T55" fmla="*/ 830 h 1106"/>
              <a:gd name="T56" fmla="*/ 505 w 1396"/>
              <a:gd name="T57" fmla="*/ 993 h 1106"/>
              <a:gd name="T58" fmla="*/ 184 w 1396"/>
              <a:gd name="T59" fmla="*/ 830 h 1106"/>
              <a:gd name="T60" fmla="*/ 344 w 1396"/>
              <a:gd name="T61" fmla="*/ 918 h 1106"/>
              <a:gd name="T62" fmla="*/ 184 w 1396"/>
              <a:gd name="T63" fmla="*/ 830 h 1106"/>
              <a:gd name="T64" fmla="*/ 131 w 1396"/>
              <a:gd name="T65" fmla="*/ 747 h 1106"/>
              <a:gd name="T66" fmla="*/ 272 w 1396"/>
              <a:gd name="T67" fmla="*/ 586 h 1106"/>
              <a:gd name="T68" fmla="*/ 131 w 1396"/>
              <a:gd name="T69" fmla="*/ 747 h 1106"/>
              <a:gd name="T70" fmla="*/ 131 w 1396"/>
              <a:gd name="T71" fmla="*/ 343 h 1106"/>
              <a:gd name="T72" fmla="*/ 272 w 1396"/>
              <a:gd name="T73" fmla="*/ 503 h 1106"/>
              <a:gd name="T74" fmla="*/ 131 w 1396"/>
              <a:gd name="T75" fmla="*/ 343 h 1106"/>
              <a:gd name="T76" fmla="*/ 374 w 1396"/>
              <a:gd name="T77" fmla="*/ 117 h 1106"/>
              <a:gd name="T78" fmla="*/ 311 w 1396"/>
              <a:gd name="T79" fmla="*/ 260 h 1106"/>
              <a:gd name="T80" fmla="*/ 374 w 1396"/>
              <a:gd name="T81" fmla="*/ 117 h 1106"/>
              <a:gd name="T82" fmla="*/ 650 w 1396"/>
              <a:gd name="T83" fmla="*/ 1052 h 1106"/>
              <a:gd name="T84" fmla="*/ 704 w 1396"/>
              <a:gd name="T85" fmla="*/ 996 h 1106"/>
              <a:gd name="T86" fmla="*/ 804 w 1396"/>
              <a:gd name="T87" fmla="*/ 747 h 1106"/>
              <a:gd name="T88" fmla="*/ 822 w 1396"/>
              <a:gd name="T89" fmla="*/ 586 h 1106"/>
              <a:gd name="T90" fmla="*/ 822 w 1396"/>
              <a:gd name="T91" fmla="*/ 503 h 1106"/>
              <a:gd name="T92" fmla="*/ 750 w 1396"/>
              <a:gd name="T93" fmla="*/ 171 h 1106"/>
              <a:gd name="T94" fmla="*/ 965 w 1396"/>
              <a:gd name="T95" fmla="*/ 348 h 1106"/>
              <a:gd name="T96" fmla="*/ 549 w 1396"/>
              <a:gd name="T97" fmla="*/ 0 h 1106"/>
              <a:gd name="T98" fmla="*/ 0 w 1396"/>
              <a:gd name="T99" fmla="*/ 545 h 1106"/>
              <a:gd name="T100" fmla="*/ 549 w 1396"/>
              <a:gd name="T101" fmla="*/ 1090 h 1106"/>
              <a:gd name="T102" fmla="*/ 550 w 1396"/>
              <a:gd name="T103" fmla="*/ 1089 h 1106"/>
              <a:gd name="T104" fmla="*/ 591 w 1396"/>
              <a:gd name="T105" fmla="*/ 1082 h 1106"/>
              <a:gd name="T106" fmla="*/ 619 w 1396"/>
              <a:gd name="T107" fmla="*/ 1071 h 1106"/>
              <a:gd name="T108" fmla="*/ 645 w 1396"/>
              <a:gd name="T109" fmla="*/ 1056 h 1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396" h="1106">
                <a:moveTo>
                  <a:pt x="1151" y="213"/>
                </a:moveTo>
                <a:cubicBezTo>
                  <a:pt x="1151" y="213"/>
                  <a:pt x="1151" y="213"/>
                  <a:pt x="1151" y="213"/>
                </a:cubicBezTo>
                <a:cubicBezTo>
                  <a:pt x="876" y="532"/>
                  <a:pt x="876" y="532"/>
                  <a:pt x="876" y="532"/>
                </a:cubicBezTo>
                <a:cubicBezTo>
                  <a:pt x="1037" y="532"/>
                  <a:pt x="1037" y="532"/>
                  <a:pt x="1037" y="532"/>
                </a:cubicBezTo>
                <a:cubicBezTo>
                  <a:pt x="1037" y="544"/>
                  <a:pt x="1038" y="555"/>
                  <a:pt x="1038" y="566"/>
                </a:cubicBezTo>
                <a:cubicBezTo>
                  <a:pt x="1038" y="828"/>
                  <a:pt x="883" y="1078"/>
                  <a:pt x="626" y="1103"/>
                </a:cubicBezTo>
                <a:cubicBezTo>
                  <a:pt x="644" y="1104"/>
                  <a:pt x="660" y="1106"/>
                  <a:pt x="678" y="1106"/>
                </a:cubicBezTo>
                <a:cubicBezTo>
                  <a:pt x="991" y="1106"/>
                  <a:pt x="1204" y="835"/>
                  <a:pt x="1238" y="532"/>
                </a:cubicBezTo>
                <a:cubicBezTo>
                  <a:pt x="1396" y="532"/>
                  <a:pt x="1396" y="532"/>
                  <a:pt x="1396" y="532"/>
                </a:cubicBezTo>
                <a:lnTo>
                  <a:pt x="1151" y="213"/>
                </a:lnTo>
                <a:close/>
                <a:moveTo>
                  <a:pt x="589" y="993"/>
                </a:moveTo>
                <a:cubicBezTo>
                  <a:pt x="589" y="993"/>
                  <a:pt x="589" y="993"/>
                  <a:pt x="589" y="993"/>
                </a:cubicBezTo>
                <a:cubicBezTo>
                  <a:pt x="589" y="830"/>
                  <a:pt x="589" y="830"/>
                  <a:pt x="589" y="830"/>
                </a:cubicBezTo>
                <a:cubicBezTo>
                  <a:pt x="696" y="830"/>
                  <a:pt x="696" y="830"/>
                  <a:pt x="696" y="830"/>
                </a:cubicBezTo>
                <a:cubicBezTo>
                  <a:pt x="689" y="849"/>
                  <a:pt x="682" y="867"/>
                  <a:pt x="675" y="883"/>
                </a:cubicBezTo>
                <a:cubicBezTo>
                  <a:pt x="648" y="940"/>
                  <a:pt x="618" y="976"/>
                  <a:pt x="589" y="993"/>
                </a:cubicBezTo>
                <a:moveTo>
                  <a:pt x="589" y="586"/>
                </a:moveTo>
                <a:cubicBezTo>
                  <a:pt x="589" y="586"/>
                  <a:pt x="589" y="586"/>
                  <a:pt x="589" y="586"/>
                </a:cubicBezTo>
                <a:cubicBezTo>
                  <a:pt x="738" y="586"/>
                  <a:pt x="738" y="586"/>
                  <a:pt x="738" y="586"/>
                </a:cubicBezTo>
                <a:cubicBezTo>
                  <a:pt x="736" y="644"/>
                  <a:pt x="729" y="698"/>
                  <a:pt x="718" y="747"/>
                </a:cubicBezTo>
                <a:cubicBezTo>
                  <a:pt x="589" y="747"/>
                  <a:pt x="589" y="747"/>
                  <a:pt x="589" y="747"/>
                </a:cubicBezTo>
                <a:lnTo>
                  <a:pt x="589" y="586"/>
                </a:lnTo>
                <a:close/>
                <a:moveTo>
                  <a:pt x="589" y="343"/>
                </a:moveTo>
                <a:cubicBezTo>
                  <a:pt x="589" y="343"/>
                  <a:pt x="589" y="343"/>
                  <a:pt x="589" y="343"/>
                </a:cubicBezTo>
                <a:cubicBezTo>
                  <a:pt x="718" y="343"/>
                  <a:pt x="718" y="343"/>
                  <a:pt x="718" y="343"/>
                </a:cubicBezTo>
                <a:cubicBezTo>
                  <a:pt x="729" y="392"/>
                  <a:pt x="736" y="446"/>
                  <a:pt x="738" y="503"/>
                </a:cubicBezTo>
                <a:cubicBezTo>
                  <a:pt x="589" y="503"/>
                  <a:pt x="589" y="503"/>
                  <a:pt x="589" y="503"/>
                </a:cubicBezTo>
                <a:lnTo>
                  <a:pt x="589" y="343"/>
                </a:lnTo>
                <a:close/>
                <a:moveTo>
                  <a:pt x="589" y="96"/>
                </a:moveTo>
                <a:cubicBezTo>
                  <a:pt x="589" y="96"/>
                  <a:pt x="589" y="96"/>
                  <a:pt x="589" y="96"/>
                </a:cubicBezTo>
                <a:cubicBezTo>
                  <a:pt x="618" y="114"/>
                  <a:pt x="648" y="150"/>
                  <a:pt x="675" y="206"/>
                </a:cubicBezTo>
                <a:cubicBezTo>
                  <a:pt x="682" y="223"/>
                  <a:pt x="689" y="241"/>
                  <a:pt x="696" y="260"/>
                </a:cubicBezTo>
                <a:cubicBezTo>
                  <a:pt x="589" y="260"/>
                  <a:pt x="589" y="260"/>
                  <a:pt x="589" y="260"/>
                </a:cubicBezTo>
                <a:lnTo>
                  <a:pt x="589" y="96"/>
                </a:lnTo>
                <a:close/>
                <a:moveTo>
                  <a:pt x="505" y="260"/>
                </a:moveTo>
                <a:cubicBezTo>
                  <a:pt x="505" y="260"/>
                  <a:pt x="505" y="260"/>
                  <a:pt x="505" y="260"/>
                </a:cubicBezTo>
                <a:cubicBezTo>
                  <a:pt x="398" y="260"/>
                  <a:pt x="398" y="260"/>
                  <a:pt x="398" y="260"/>
                </a:cubicBezTo>
                <a:cubicBezTo>
                  <a:pt x="405" y="241"/>
                  <a:pt x="412" y="223"/>
                  <a:pt x="420" y="206"/>
                </a:cubicBezTo>
                <a:cubicBezTo>
                  <a:pt x="446" y="150"/>
                  <a:pt x="476" y="114"/>
                  <a:pt x="505" y="96"/>
                </a:cubicBezTo>
                <a:lnTo>
                  <a:pt x="505" y="260"/>
                </a:lnTo>
                <a:close/>
                <a:moveTo>
                  <a:pt x="505" y="503"/>
                </a:moveTo>
                <a:cubicBezTo>
                  <a:pt x="505" y="503"/>
                  <a:pt x="505" y="503"/>
                  <a:pt x="505" y="503"/>
                </a:cubicBezTo>
                <a:cubicBezTo>
                  <a:pt x="356" y="503"/>
                  <a:pt x="356" y="503"/>
                  <a:pt x="356" y="503"/>
                </a:cubicBezTo>
                <a:cubicBezTo>
                  <a:pt x="358" y="446"/>
                  <a:pt x="365" y="392"/>
                  <a:pt x="376" y="343"/>
                </a:cubicBezTo>
                <a:cubicBezTo>
                  <a:pt x="505" y="343"/>
                  <a:pt x="505" y="343"/>
                  <a:pt x="505" y="343"/>
                </a:cubicBezTo>
                <a:lnTo>
                  <a:pt x="505" y="503"/>
                </a:lnTo>
                <a:close/>
                <a:moveTo>
                  <a:pt x="505" y="747"/>
                </a:moveTo>
                <a:cubicBezTo>
                  <a:pt x="505" y="747"/>
                  <a:pt x="505" y="747"/>
                  <a:pt x="505" y="747"/>
                </a:cubicBezTo>
                <a:cubicBezTo>
                  <a:pt x="376" y="747"/>
                  <a:pt x="376" y="747"/>
                  <a:pt x="376" y="747"/>
                </a:cubicBezTo>
                <a:cubicBezTo>
                  <a:pt x="365" y="698"/>
                  <a:pt x="358" y="644"/>
                  <a:pt x="356" y="586"/>
                </a:cubicBezTo>
                <a:cubicBezTo>
                  <a:pt x="505" y="586"/>
                  <a:pt x="505" y="586"/>
                  <a:pt x="505" y="586"/>
                </a:cubicBezTo>
                <a:lnTo>
                  <a:pt x="505" y="747"/>
                </a:lnTo>
                <a:close/>
                <a:moveTo>
                  <a:pt x="505" y="993"/>
                </a:moveTo>
                <a:cubicBezTo>
                  <a:pt x="505" y="993"/>
                  <a:pt x="505" y="993"/>
                  <a:pt x="505" y="993"/>
                </a:cubicBezTo>
                <a:cubicBezTo>
                  <a:pt x="476" y="976"/>
                  <a:pt x="446" y="940"/>
                  <a:pt x="420" y="883"/>
                </a:cubicBezTo>
                <a:cubicBezTo>
                  <a:pt x="412" y="867"/>
                  <a:pt x="405" y="849"/>
                  <a:pt x="398" y="830"/>
                </a:cubicBezTo>
                <a:cubicBezTo>
                  <a:pt x="505" y="830"/>
                  <a:pt x="505" y="830"/>
                  <a:pt x="505" y="830"/>
                </a:cubicBezTo>
                <a:lnTo>
                  <a:pt x="505" y="993"/>
                </a:lnTo>
                <a:close/>
                <a:moveTo>
                  <a:pt x="184" y="830"/>
                </a:moveTo>
                <a:cubicBezTo>
                  <a:pt x="184" y="830"/>
                  <a:pt x="184" y="830"/>
                  <a:pt x="184" y="830"/>
                </a:cubicBezTo>
                <a:cubicBezTo>
                  <a:pt x="311" y="830"/>
                  <a:pt x="311" y="830"/>
                  <a:pt x="311" y="830"/>
                </a:cubicBezTo>
                <a:cubicBezTo>
                  <a:pt x="320" y="861"/>
                  <a:pt x="331" y="891"/>
                  <a:pt x="344" y="918"/>
                </a:cubicBezTo>
                <a:cubicBezTo>
                  <a:pt x="353" y="937"/>
                  <a:pt x="363" y="955"/>
                  <a:pt x="374" y="972"/>
                </a:cubicBezTo>
                <a:cubicBezTo>
                  <a:pt x="298" y="942"/>
                  <a:pt x="233" y="893"/>
                  <a:pt x="184" y="830"/>
                </a:cubicBezTo>
                <a:moveTo>
                  <a:pt x="131" y="747"/>
                </a:moveTo>
                <a:cubicBezTo>
                  <a:pt x="131" y="747"/>
                  <a:pt x="131" y="747"/>
                  <a:pt x="131" y="747"/>
                </a:cubicBezTo>
                <a:cubicBezTo>
                  <a:pt x="107" y="698"/>
                  <a:pt x="91" y="644"/>
                  <a:pt x="86" y="586"/>
                </a:cubicBezTo>
                <a:cubicBezTo>
                  <a:pt x="272" y="586"/>
                  <a:pt x="272" y="586"/>
                  <a:pt x="272" y="586"/>
                </a:cubicBezTo>
                <a:cubicBezTo>
                  <a:pt x="274" y="643"/>
                  <a:pt x="280" y="697"/>
                  <a:pt x="290" y="747"/>
                </a:cubicBezTo>
                <a:lnTo>
                  <a:pt x="131" y="747"/>
                </a:lnTo>
                <a:close/>
                <a:moveTo>
                  <a:pt x="131" y="343"/>
                </a:moveTo>
                <a:cubicBezTo>
                  <a:pt x="131" y="343"/>
                  <a:pt x="131" y="343"/>
                  <a:pt x="131" y="343"/>
                </a:cubicBezTo>
                <a:cubicBezTo>
                  <a:pt x="290" y="343"/>
                  <a:pt x="290" y="343"/>
                  <a:pt x="290" y="343"/>
                </a:cubicBezTo>
                <a:cubicBezTo>
                  <a:pt x="280" y="393"/>
                  <a:pt x="274" y="447"/>
                  <a:pt x="272" y="503"/>
                </a:cubicBezTo>
                <a:cubicBezTo>
                  <a:pt x="86" y="503"/>
                  <a:pt x="86" y="503"/>
                  <a:pt x="86" y="503"/>
                </a:cubicBezTo>
                <a:cubicBezTo>
                  <a:pt x="91" y="446"/>
                  <a:pt x="107" y="392"/>
                  <a:pt x="131" y="343"/>
                </a:cubicBezTo>
                <a:moveTo>
                  <a:pt x="374" y="117"/>
                </a:moveTo>
                <a:cubicBezTo>
                  <a:pt x="374" y="117"/>
                  <a:pt x="374" y="117"/>
                  <a:pt x="374" y="117"/>
                </a:cubicBezTo>
                <a:cubicBezTo>
                  <a:pt x="363" y="134"/>
                  <a:pt x="353" y="152"/>
                  <a:pt x="344" y="171"/>
                </a:cubicBezTo>
                <a:cubicBezTo>
                  <a:pt x="331" y="199"/>
                  <a:pt x="320" y="228"/>
                  <a:pt x="311" y="260"/>
                </a:cubicBezTo>
                <a:cubicBezTo>
                  <a:pt x="184" y="260"/>
                  <a:pt x="184" y="260"/>
                  <a:pt x="184" y="260"/>
                </a:cubicBezTo>
                <a:cubicBezTo>
                  <a:pt x="233" y="197"/>
                  <a:pt x="298" y="147"/>
                  <a:pt x="374" y="117"/>
                </a:cubicBezTo>
                <a:moveTo>
                  <a:pt x="645" y="1056"/>
                </a:moveTo>
                <a:cubicBezTo>
                  <a:pt x="647" y="1055"/>
                  <a:pt x="648" y="1053"/>
                  <a:pt x="650" y="1052"/>
                </a:cubicBezTo>
                <a:cubicBezTo>
                  <a:pt x="669" y="1037"/>
                  <a:pt x="687" y="1019"/>
                  <a:pt x="703" y="997"/>
                </a:cubicBezTo>
                <a:cubicBezTo>
                  <a:pt x="703" y="997"/>
                  <a:pt x="704" y="997"/>
                  <a:pt x="704" y="996"/>
                </a:cubicBezTo>
                <a:cubicBezTo>
                  <a:pt x="721" y="973"/>
                  <a:pt x="737" y="947"/>
                  <a:pt x="750" y="918"/>
                </a:cubicBezTo>
                <a:cubicBezTo>
                  <a:pt x="773" y="869"/>
                  <a:pt x="792" y="811"/>
                  <a:pt x="804" y="747"/>
                </a:cubicBezTo>
                <a:cubicBezTo>
                  <a:pt x="804" y="747"/>
                  <a:pt x="804" y="747"/>
                  <a:pt x="804" y="747"/>
                </a:cubicBezTo>
                <a:cubicBezTo>
                  <a:pt x="814" y="697"/>
                  <a:pt x="819" y="643"/>
                  <a:pt x="822" y="586"/>
                </a:cubicBezTo>
                <a:cubicBezTo>
                  <a:pt x="822" y="573"/>
                  <a:pt x="823" y="559"/>
                  <a:pt x="823" y="545"/>
                </a:cubicBezTo>
                <a:cubicBezTo>
                  <a:pt x="823" y="531"/>
                  <a:pt x="822" y="517"/>
                  <a:pt x="822" y="503"/>
                </a:cubicBezTo>
                <a:cubicBezTo>
                  <a:pt x="819" y="447"/>
                  <a:pt x="814" y="393"/>
                  <a:pt x="804" y="343"/>
                </a:cubicBezTo>
                <a:cubicBezTo>
                  <a:pt x="792" y="279"/>
                  <a:pt x="773" y="221"/>
                  <a:pt x="750" y="171"/>
                </a:cubicBezTo>
                <a:cubicBezTo>
                  <a:pt x="741" y="152"/>
                  <a:pt x="731" y="134"/>
                  <a:pt x="720" y="117"/>
                </a:cubicBezTo>
                <a:cubicBezTo>
                  <a:pt x="828" y="161"/>
                  <a:pt x="915" y="244"/>
                  <a:pt x="965" y="348"/>
                </a:cubicBezTo>
                <a:cubicBezTo>
                  <a:pt x="1022" y="276"/>
                  <a:pt x="1022" y="276"/>
                  <a:pt x="1022" y="276"/>
                </a:cubicBezTo>
                <a:cubicBezTo>
                  <a:pt x="928" y="112"/>
                  <a:pt x="752" y="1"/>
                  <a:pt x="549" y="0"/>
                </a:cubicBezTo>
                <a:cubicBezTo>
                  <a:pt x="547" y="0"/>
                  <a:pt x="547" y="0"/>
                  <a:pt x="547" y="0"/>
                </a:cubicBezTo>
                <a:cubicBezTo>
                  <a:pt x="245" y="0"/>
                  <a:pt x="0" y="244"/>
                  <a:pt x="0" y="545"/>
                </a:cubicBezTo>
                <a:cubicBezTo>
                  <a:pt x="0" y="846"/>
                  <a:pt x="245" y="1090"/>
                  <a:pt x="547" y="1090"/>
                </a:cubicBezTo>
                <a:cubicBezTo>
                  <a:pt x="549" y="1090"/>
                  <a:pt x="549" y="1090"/>
                  <a:pt x="549" y="1090"/>
                </a:cubicBezTo>
                <a:cubicBezTo>
                  <a:pt x="549" y="1089"/>
                  <a:pt x="549" y="1089"/>
                  <a:pt x="549" y="1089"/>
                </a:cubicBezTo>
                <a:cubicBezTo>
                  <a:pt x="550" y="1089"/>
                  <a:pt x="550" y="1089"/>
                  <a:pt x="550" y="1089"/>
                </a:cubicBezTo>
                <a:cubicBezTo>
                  <a:pt x="559" y="1089"/>
                  <a:pt x="568" y="1088"/>
                  <a:pt x="577" y="1086"/>
                </a:cubicBezTo>
                <a:cubicBezTo>
                  <a:pt x="581" y="1085"/>
                  <a:pt x="586" y="1084"/>
                  <a:pt x="591" y="1082"/>
                </a:cubicBezTo>
                <a:cubicBezTo>
                  <a:pt x="595" y="1081"/>
                  <a:pt x="600" y="1079"/>
                  <a:pt x="604" y="1078"/>
                </a:cubicBezTo>
                <a:cubicBezTo>
                  <a:pt x="609" y="1076"/>
                  <a:pt x="614" y="1074"/>
                  <a:pt x="619" y="1071"/>
                </a:cubicBezTo>
                <a:cubicBezTo>
                  <a:pt x="623" y="1070"/>
                  <a:pt x="626" y="1067"/>
                  <a:pt x="630" y="1066"/>
                </a:cubicBezTo>
                <a:cubicBezTo>
                  <a:pt x="635" y="1063"/>
                  <a:pt x="640" y="1060"/>
                  <a:pt x="645" y="1056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42508" tIns="21254" rIns="42508" bIns="21254" numCol="1" anchor="t" anchorCtr="0" compatLnSpc="1">
            <a:prstTxWarp prst="textNoShape">
              <a:avLst/>
            </a:prstTxWarp>
          </a:bodyPr>
          <a:lstStyle/>
          <a:p>
            <a:pPr defTabSz="571365"/>
            <a:endParaRPr kumimoji="0" lang="en-US" sz="1125">
              <a:solidFill>
                <a:srgbClr val="333333"/>
              </a:solidFill>
            </a:endParaRPr>
          </a:p>
        </p:txBody>
      </p:sp>
      <p:sp>
        <p:nvSpPr>
          <p:cNvPr id="43" name="Freeform 9"/>
          <p:cNvSpPr>
            <a:spLocks noEditPoints="1"/>
          </p:cNvSpPr>
          <p:nvPr userDrawn="1"/>
        </p:nvSpPr>
        <p:spPr bwMode="auto">
          <a:xfrm>
            <a:off x="372846" y="2681186"/>
            <a:ext cx="204544" cy="258051"/>
          </a:xfrm>
          <a:custGeom>
            <a:avLst/>
            <a:gdLst>
              <a:gd name="T0" fmla="*/ 509 w 808"/>
              <a:gd name="T1" fmla="*/ 1140 h 1214"/>
              <a:gd name="T2" fmla="*/ 509 w 808"/>
              <a:gd name="T3" fmla="*/ 1140 h 1214"/>
              <a:gd name="T4" fmla="*/ 298 w 808"/>
              <a:gd name="T5" fmla="*/ 1140 h 1214"/>
              <a:gd name="T6" fmla="*/ 260 w 808"/>
              <a:gd name="T7" fmla="*/ 1177 h 1214"/>
              <a:gd name="T8" fmla="*/ 298 w 808"/>
              <a:gd name="T9" fmla="*/ 1214 h 1214"/>
              <a:gd name="T10" fmla="*/ 509 w 808"/>
              <a:gd name="T11" fmla="*/ 1214 h 1214"/>
              <a:gd name="T12" fmla="*/ 546 w 808"/>
              <a:gd name="T13" fmla="*/ 1177 h 1214"/>
              <a:gd name="T14" fmla="*/ 509 w 808"/>
              <a:gd name="T15" fmla="*/ 1140 h 1214"/>
              <a:gd name="T16" fmla="*/ 509 w 808"/>
              <a:gd name="T17" fmla="*/ 1026 h 1214"/>
              <a:gd name="T18" fmla="*/ 509 w 808"/>
              <a:gd name="T19" fmla="*/ 1026 h 1214"/>
              <a:gd name="T20" fmla="*/ 298 w 808"/>
              <a:gd name="T21" fmla="*/ 1026 h 1214"/>
              <a:gd name="T22" fmla="*/ 260 w 808"/>
              <a:gd name="T23" fmla="*/ 1064 h 1214"/>
              <a:gd name="T24" fmla="*/ 298 w 808"/>
              <a:gd name="T25" fmla="*/ 1100 h 1214"/>
              <a:gd name="T26" fmla="*/ 509 w 808"/>
              <a:gd name="T27" fmla="*/ 1100 h 1214"/>
              <a:gd name="T28" fmla="*/ 546 w 808"/>
              <a:gd name="T29" fmla="*/ 1064 h 1214"/>
              <a:gd name="T30" fmla="*/ 509 w 808"/>
              <a:gd name="T31" fmla="*/ 1026 h 1214"/>
              <a:gd name="T32" fmla="*/ 404 w 808"/>
              <a:gd name="T33" fmla="*/ 152 h 1214"/>
              <a:gd name="T34" fmla="*/ 404 w 808"/>
              <a:gd name="T35" fmla="*/ 152 h 1214"/>
              <a:gd name="T36" fmla="*/ 386 w 808"/>
              <a:gd name="T37" fmla="*/ 153 h 1214"/>
              <a:gd name="T38" fmla="*/ 620 w 808"/>
              <a:gd name="T39" fmla="*/ 405 h 1214"/>
              <a:gd name="T40" fmla="*/ 510 w 808"/>
              <a:gd name="T41" fmla="*/ 613 h 1214"/>
              <a:gd name="T42" fmla="*/ 434 w 808"/>
              <a:gd name="T43" fmla="*/ 837 h 1214"/>
              <a:gd name="T44" fmla="*/ 434 w 808"/>
              <a:gd name="T45" fmla="*/ 825 h 1214"/>
              <a:gd name="T46" fmla="*/ 547 w 808"/>
              <a:gd name="T47" fmla="*/ 613 h 1214"/>
              <a:gd name="T48" fmla="*/ 657 w 808"/>
              <a:gd name="T49" fmla="*/ 405 h 1214"/>
              <a:gd name="T50" fmla="*/ 404 w 808"/>
              <a:gd name="T51" fmla="*/ 152 h 1214"/>
              <a:gd name="T52" fmla="*/ 589 w 808"/>
              <a:gd name="T53" fmla="*/ 675 h 1214"/>
              <a:gd name="T54" fmla="*/ 589 w 808"/>
              <a:gd name="T55" fmla="*/ 675 h 1214"/>
              <a:gd name="T56" fmla="*/ 583 w 808"/>
              <a:gd name="T57" fmla="*/ 681 h 1214"/>
              <a:gd name="T58" fmla="*/ 509 w 808"/>
              <a:gd name="T59" fmla="*/ 826 h 1214"/>
              <a:gd name="T60" fmla="*/ 509 w 808"/>
              <a:gd name="T61" fmla="*/ 874 h 1214"/>
              <a:gd name="T62" fmla="*/ 472 w 808"/>
              <a:gd name="T63" fmla="*/ 912 h 1214"/>
              <a:gd name="T64" fmla="*/ 337 w 808"/>
              <a:gd name="T65" fmla="*/ 912 h 1214"/>
              <a:gd name="T66" fmla="*/ 299 w 808"/>
              <a:gd name="T67" fmla="*/ 874 h 1214"/>
              <a:gd name="T68" fmla="*/ 299 w 808"/>
              <a:gd name="T69" fmla="*/ 820 h 1214"/>
              <a:gd name="T70" fmla="*/ 226 w 808"/>
              <a:gd name="T71" fmla="*/ 681 h 1214"/>
              <a:gd name="T72" fmla="*/ 221 w 808"/>
              <a:gd name="T73" fmla="*/ 677 h 1214"/>
              <a:gd name="T74" fmla="*/ 76 w 808"/>
              <a:gd name="T75" fmla="*/ 405 h 1214"/>
              <a:gd name="T76" fmla="*/ 404 w 808"/>
              <a:gd name="T77" fmla="*/ 77 h 1214"/>
              <a:gd name="T78" fmla="*/ 733 w 808"/>
              <a:gd name="T79" fmla="*/ 405 h 1214"/>
              <a:gd name="T80" fmla="*/ 589 w 808"/>
              <a:gd name="T81" fmla="*/ 675 h 1214"/>
              <a:gd name="T82" fmla="*/ 404 w 808"/>
              <a:gd name="T83" fmla="*/ 0 h 1214"/>
              <a:gd name="T84" fmla="*/ 0 w 808"/>
              <a:gd name="T85" fmla="*/ 405 h 1214"/>
              <a:gd name="T86" fmla="*/ 173 w 808"/>
              <a:gd name="T87" fmla="*/ 736 h 1214"/>
              <a:gd name="T88" fmla="*/ 178 w 808"/>
              <a:gd name="T89" fmla="*/ 740 h 1214"/>
              <a:gd name="T90" fmla="*/ 224 w 808"/>
              <a:gd name="T91" fmla="*/ 822 h 1214"/>
              <a:gd name="T92" fmla="*/ 224 w 808"/>
              <a:gd name="T93" fmla="*/ 874 h 1214"/>
              <a:gd name="T94" fmla="*/ 337 w 808"/>
              <a:gd name="T95" fmla="*/ 988 h 1214"/>
              <a:gd name="T96" fmla="*/ 472 w 808"/>
              <a:gd name="T97" fmla="*/ 988 h 1214"/>
              <a:gd name="T98" fmla="*/ 585 w 808"/>
              <a:gd name="T99" fmla="*/ 874 h 1214"/>
              <a:gd name="T100" fmla="*/ 585 w 808"/>
              <a:gd name="T101" fmla="*/ 826 h 1214"/>
              <a:gd name="T102" fmla="*/ 632 w 808"/>
              <a:gd name="T103" fmla="*/ 739 h 1214"/>
              <a:gd name="T104" fmla="*/ 639 w 808"/>
              <a:gd name="T105" fmla="*/ 733 h 1214"/>
              <a:gd name="T106" fmla="*/ 808 w 808"/>
              <a:gd name="T107" fmla="*/ 405 h 1214"/>
              <a:gd name="T108" fmla="*/ 404 w 808"/>
              <a:gd name="T109" fmla="*/ 0 h 12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808" h="1214">
                <a:moveTo>
                  <a:pt x="509" y="1140"/>
                </a:moveTo>
                <a:cubicBezTo>
                  <a:pt x="509" y="1140"/>
                  <a:pt x="509" y="1140"/>
                  <a:pt x="509" y="1140"/>
                </a:cubicBezTo>
                <a:cubicBezTo>
                  <a:pt x="298" y="1140"/>
                  <a:pt x="298" y="1140"/>
                  <a:pt x="298" y="1140"/>
                </a:cubicBezTo>
                <a:cubicBezTo>
                  <a:pt x="277" y="1140"/>
                  <a:pt x="260" y="1156"/>
                  <a:pt x="260" y="1177"/>
                </a:cubicBezTo>
                <a:cubicBezTo>
                  <a:pt x="260" y="1198"/>
                  <a:pt x="277" y="1214"/>
                  <a:pt x="298" y="1214"/>
                </a:cubicBezTo>
                <a:cubicBezTo>
                  <a:pt x="509" y="1214"/>
                  <a:pt x="509" y="1214"/>
                  <a:pt x="509" y="1214"/>
                </a:cubicBezTo>
                <a:cubicBezTo>
                  <a:pt x="530" y="1214"/>
                  <a:pt x="546" y="1198"/>
                  <a:pt x="546" y="1177"/>
                </a:cubicBezTo>
                <a:cubicBezTo>
                  <a:pt x="546" y="1156"/>
                  <a:pt x="530" y="1140"/>
                  <a:pt x="509" y="1140"/>
                </a:cubicBezTo>
                <a:moveTo>
                  <a:pt x="509" y="1026"/>
                </a:moveTo>
                <a:cubicBezTo>
                  <a:pt x="509" y="1026"/>
                  <a:pt x="509" y="1026"/>
                  <a:pt x="509" y="1026"/>
                </a:cubicBezTo>
                <a:cubicBezTo>
                  <a:pt x="298" y="1026"/>
                  <a:pt x="298" y="1026"/>
                  <a:pt x="298" y="1026"/>
                </a:cubicBezTo>
                <a:cubicBezTo>
                  <a:pt x="277" y="1026"/>
                  <a:pt x="260" y="1043"/>
                  <a:pt x="260" y="1064"/>
                </a:cubicBezTo>
                <a:cubicBezTo>
                  <a:pt x="260" y="1084"/>
                  <a:pt x="277" y="1100"/>
                  <a:pt x="298" y="1100"/>
                </a:cubicBezTo>
                <a:cubicBezTo>
                  <a:pt x="509" y="1100"/>
                  <a:pt x="509" y="1100"/>
                  <a:pt x="509" y="1100"/>
                </a:cubicBezTo>
                <a:cubicBezTo>
                  <a:pt x="530" y="1100"/>
                  <a:pt x="546" y="1084"/>
                  <a:pt x="546" y="1064"/>
                </a:cubicBezTo>
                <a:cubicBezTo>
                  <a:pt x="546" y="1043"/>
                  <a:pt x="530" y="1026"/>
                  <a:pt x="509" y="1026"/>
                </a:cubicBezTo>
                <a:moveTo>
                  <a:pt x="404" y="152"/>
                </a:moveTo>
                <a:cubicBezTo>
                  <a:pt x="404" y="152"/>
                  <a:pt x="404" y="152"/>
                  <a:pt x="404" y="152"/>
                </a:cubicBezTo>
                <a:cubicBezTo>
                  <a:pt x="398" y="152"/>
                  <a:pt x="392" y="153"/>
                  <a:pt x="386" y="153"/>
                </a:cubicBezTo>
                <a:cubicBezTo>
                  <a:pt x="516" y="163"/>
                  <a:pt x="620" y="271"/>
                  <a:pt x="620" y="405"/>
                </a:cubicBezTo>
                <a:cubicBezTo>
                  <a:pt x="620" y="488"/>
                  <a:pt x="577" y="564"/>
                  <a:pt x="510" y="613"/>
                </a:cubicBezTo>
                <a:cubicBezTo>
                  <a:pt x="408" y="687"/>
                  <a:pt x="434" y="837"/>
                  <a:pt x="434" y="837"/>
                </a:cubicBezTo>
                <a:cubicBezTo>
                  <a:pt x="434" y="825"/>
                  <a:pt x="434" y="825"/>
                  <a:pt x="434" y="825"/>
                </a:cubicBezTo>
                <a:cubicBezTo>
                  <a:pt x="434" y="740"/>
                  <a:pt x="477" y="661"/>
                  <a:pt x="547" y="613"/>
                </a:cubicBezTo>
                <a:cubicBezTo>
                  <a:pt x="616" y="566"/>
                  <a:pt x="657" y="488"/>
                  <a:pt x="657" y="405"/>
                </a:cubicBezTo>
                <a:cubicBezTo>
                  <a:pt x="657" y="265"/>
                  <a:pt x="543" y="152"/>
                  <a:pt x="404" y="152"/>
                </a:cubicBezTo>
                <a:moveTo>
                  <a:pt x="589" y="675"/>
                </a:moveTo>
                <a:cubicBezTo>
                  <a:pt x="589" y="675"/>
                  <a:pt x="589" y="675"/>
                  <a:pt x="589" y="675"/>
                </a:cubicBezTo>
                <a:cubicBezTo>
                  <a:pt x="587" y="677"/>
                  <a:pt x="585" y="679"/>
                  <a:pt x="583" y="681"/>
                </a:cubicBezTo>
                <a:cubicBezTo>
                  <a:pt x="539" y="714"/>
                  <a:pt x="510" y="767"/>
                  <a:pt x="509" y="826"/>
                </a:cubicBezTo>
                <a:cubicBezTo>
                  <a:pt x="509" y="874"/>
                  <a:pt x="509" y="874"/>
                  <a:pt x="509" y="874"/>
                </a:cubicBezTo>
                <a:cubicBezTo>
                  <a:pt x="509" y="895"/>
                  <a:pt x="493" y="912"/>
                  <a:pt x="472" y="912"/>
                </a:cubicBezTo>
                <a:cubicBezTo>
                  <a:pt x="337" y="912"/>
                  <a:pt x="337" y="912"/>
                  <a:pt x="337" y="912"/>
                </a:cubicBezTo>
                <a:cubicBezTo>
                  <a:pt x="316" y="912"/>
                  <a:pt x="299" y="895"/>
                  <a:pt x="299" y="874"/>
                </a:cubicBezTo>
                <a:cubicBezTo>
                  <a:pt x="299" y="820"/>
                  <a:pt x="299" y="820"/>
                  <a:pt x="299" y="820"/>
                </a:cubicBezTo>
                <a:cubicBezTo>
                  <a:pt x="296" y="762"/>
                  <a:pt x="269" y="712"/>
                  <a:pt x="226" y="681"/>
                </a:cubicBezTo>
                <a:cubicBezTo>
                  <a:pt x="224" y="679"/>
                  <a:pt x="223" y="678"/>
                  <a:pt x="221" y="677"/>
                </a:cubicBezTo>
                <a:cubicBezTo>
                  <a:pt x="134" y="617"/>
                  <a:pt x="76" y="518"/>
                  <a:pt x="76" y="405"/>
                </a:cubicBezTo>
                <a:cubicBezTo>
                  <a:pt x="77" y="224"/>
                  <a:pt x="223" y="77"/>
                  <a:pt x="404" y="77"/>
                </a:cubicBezTo>
                <a:cubicBezTo>
                  <a:pt x="586" y="77"/>
                  <a:pt x="732" y="224"/>
                  <a:pt x="733" y="405"/>
                </a:cubicBezTo>
                <a:cubicBezTo>
                  <a:pt x="733" y="517"/>
                  <a:pt x="676" y="616"/>
                  <a:pt x="589" y="675"/>
                </a:cubicBezTo>
                <a:moveTo>
                  <a:pt x="404" y="0"/>
                </a:moveTo>
                <a:cubicBezTo>
                  <a:pt x="181" y="1"/>
                  <a:pt x="0" y="181"/>
                  <a:pt x="0" y="405"/>
                </a:cubicBezTo>
                <a:cubicBezTo>
                  <a:pt x="0" y="542"/>
                  <a:pt x="68" y="663"/>
                  <a:pt x="173" y="736"/>
                </a:cubicBezTo>
                <a:cubicBezTo>
                  <a:pt x="174" y="737"/>
                  <a:pt x="176" y="738"/>
                  <a:pt x="178" y="740"/>
                </a:cubicBezTo>
                <a:cubicBezTo>
                  <a:pt x="204" y="758"/>
                  <a:pt x="222" y="787"/>
                  <a:pt x="224" y="822"/>
                </a:cubicBezTo>
                <a:cubicBezTo>
                  <a:pt x="224" y="874"/>
                  <a:pt x="224" y="874"/>
                  <a:pt x="224" y="874"/>
                </a:cubicBezTo>
                <a:cubicBezTo>
                  <a:pt x="224" y="937"/>
                  <a:pt x="274" y="988"/>
                  <a:pt x="337" y="988"/>
                </a:cubicBezTo>
                <a:cubicBezTo>
                  <a:pt x="472" y="988"/>
                  <a:pt x="472" y="988"/>
                  <a:pt x="472" y="988"/>
                </a:cubicBezTo>
                <a:cubicBezTo>
                  <a:pt x="534" y="988"/>
                  <a:pt x="585" y="937"/>
                  <a:pt x="585" y="874"/>
                </a:cubicBezTo>
                <a:cubicBezTo>
                  <a:pt x="585" y="826"/>
                  <a:pt x="585" y="826"/>
                  <a:pt x="585" y="826"/>
                </a:cubicBezTo>
                <a:cubicBezTo>
                  <a:pt x="586" y="790"/>
                  <a:pt x="604" y="758"/>
                  <a:pt x="632" y="739"/>
                </a:cubicBezTo>
                <a:cubicBezTo>
                  <a:pt x="635" y="737"/>
                  <a:pt x="637" y="736"/>
                  <a:pt x="639" y="733"/>
                </a:cubicBezTo>
                <a:cubicBezTo>
                  <a:pt x="742" y="660"/>
                  <a:pt x="808" y="540"/>
                  <a:pt x="808" y="405"/>
                </a:cubicBezTo>
                <a:cubicBezTo>
                  <a:pt x="808" y="181"/>
                  <a:pt x="627" y="1"/>
                  <a:pt x="404" y="0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42508" tIns="21254" rIns="42508" bIns="21254" numCol="1" anchor="t" anchorCtr="0" compatLnSpc="1">
            <a:prstTxWarp prst="textNoShape">
              <a:avLst/>
            </a:prstTxWarp>
          </a:bodyPr>
          <a:lstStyle/>
          <a:p>
            <a:pPr defTabSz="571365"/>
            <a:endParaRPr kumimoji="0" lang="en-US" sz="1125">
              <a:solidFill>
                <a:srgbClr val="333333"/>
              </a:solidFill>
            </a:endParaRP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346"/>
          <a:stretch/>
        </p:blipFill>
        <p:spPr>
          <a:xfrm>
            <a:off x="3884706" y="155865"/>
            <a:ext cx="8307293" cy="164378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>
          <a:xfrm>
            <a:off x="1" y="-8004"/>
            <a:ext cx="12192000" cy="22434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71365">
              <a:lnSpc>
                <a:spcPct val="90000"/>
              </a:lnSpc>
            </a:pPr>
            <a:r>
              <a:rPr kumimoji="0" lang="en-US" sz="818" b="1" spc="140">
                <a:solidFill>
                  <a:prstClr val="white"/>
                </a:solidFill>
              </a:rPr>
              <a:t>CONSULTING  |  INDUSTRY SOLUTIONS  |  TECHNOLOGY &amp; DIGITAL</a:t>
            </a:r>
            <a:r>
              <a:rPr kumimoji="0" lang="en-US" sz="818" b="1" spc="140" baseline="0">
                <a:solidFill>
                  <a:prstClr val="white"/>
                </a:solidFill>
              </a:rPr>
              <a:t> SERVICES</a:t>
            </a:r>
            <a:endParaRPr kumimoji="0" lang="en-US" sz="818" b="1" spc="140">
              <a:solidFill>
                <a:prstClr val="white"/>
              </a:solidFill>
            </a:endParaRPr>
          </a:p>
        </p:txBody>
      </p: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63" y="216343"/>
            <a:ext cx="1865337" cy="562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88947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934819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09441" y="1066800"/>
            <a:ext cx="10969943" cy="51054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173736" y="0"/>
            <a:ext cx="10515600" cy="722376"/>
          </a:xfrm>
          <a:prstGeom prst="rect">
            <a:avLst/>
          </a:prstGeom>
        </p:spPr>
        <p:txBody>
          <a:bodyPr tIns="109728" anchor="ctr"/>
          <a:lstStyle>
            <a:lvl1pPr marL="226468" marR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 kumimoji="1" lang="en-US" sz="2400" kern="1200" spc="0" baseline="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marL="226468" marR="0" lvl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347290099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_Closing Slide Future Blu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87ED33-6A4E-4B88-9978-60E9E0EBFC9F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NTT DATA Global Logo">
            <a:extLst>
              <a:ext uri="{FF2B5EF4-FFF2-40B4-BE49-F238E27FC236}">
                <a16:creationId xmlns:a16="http://schemas.microsoft.com/office/drawing/2014/main" id="{3F03F05C-59F6-715B-5A33-907AD87C6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03287" y="2880000"/>
            <a:ext cx="5385427" cy="10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93496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Full Imag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5720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9EF93357-ACE0-401E-B673-E62DD3B4B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endParaRPr lang="en-US"/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7565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1 Column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41A231-5EDC-C1A1-4ABB-BC6DA52F4E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45720" rIns="0" bIns="45720" rtlCol="0" anchor="t">
            <a:noAutofit/>
          </a:bodyPr>
          <a:lstStyle>
            <a:lvl1pPr>
              <a:defRPr lang="en-US"/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C224402-4AF5-E408-D3B7-C9118371189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400800"/>
            <a:ext cx="914400" cy="304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November 20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EDB1DA6-2C96-66B0-2A4C-85DA505854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71600" y="6400800"/>
            <a:ext cx="4114800" cy="304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2023 NTT DATA, Inc. | NTT Ltd. and its affiliates are NTT DATA, Inc. companies.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979F26-3C27-4303-6B8D-77E75E5329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60D39823-8059-4D49-BD26-6D32C31B8621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D21A092-B787-801E-8664-20954CF6809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81000" y="1371600"/>
            <a:ext cx="11430000" cy="487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409920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_Divider_Innovation Curve Image Lef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725B5FD-E0E9-1E4B-5EFE-D46E0910A6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433116"/>
            <a:ext cx="7315200" cy="3739084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Divider Page</a:t>
            </a:r>
          </a:p>
        </p:txBody>
      </p:sp>
      <p:sp>
        <p:nvSpPr>
          <p:cNvPr id="12" name="Section Number">
            <a:extLst>
              <a:ext uri="{FF2B5EF4-FFF2-40B4-BE49-F238E27FC236}">
                <a16:creationId xmlns:a16="http://schemas.microsoft.com/office/drawing/2014/main" id="{4337322C-F1A6-A8D5-2662-80C365ECE1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#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795E080-1F31-4238-044C-F377C0E253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ACFAEF6-C002-CEF8-D12E-35B10EFF2E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Grid">
            <a:extLst>
              <a:ext uri="{FF2B5EF4-FFF2-40B4-BE49-F238E27FC236}">
                <a16:creationId xmlns:a16="http://schemas.microsoft.com/office/drawing/2014/main" id="{7C23E814-83D3-3A4C-E7C1-1CC5AAE30D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9852" y="2403913"/>
            <a:ext cx="3755940" cy="3767718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/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8" name="Mask">
            <a:extLst>
              <a:ext uri="{FF2B5EF4-FFF2-40B4-BE49-F238E27FC236}">
                <a16:creationId xmlns:a16="http://schemas.microsoft.com/office/drawing/2014/main" id="{6A3F8A03-35AC-7457-3761-25EFCA9E3C9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389852" y="2403913"/>
            <a:ext cx="3755940" cy="3767718"/>
          </a:xfrm>
          <a:custGeom>
            <a:avLst/>
            <a:gdLst>
              <a:gd name="connsiteX0" fmla="*/ 1221722 w 3755940"/>
              <a:gd name="connsiteY0" fmla="*/ 0 h 3767718"/>
              <a:gd name="connsiteX1" fmla="*/ 2020606 w 3755940"/>
              <a:gd name="connsiteY1" fmla="*/ 439029 h 3767718"/>
              <a:gd name="connsiteX2" fmla="*/ 2500058 w 3755940"/>
              <a:gd name="connsiteY2" fmla="*/ 1241044 h 3767718"/>
              <a:gd name="connsiteX3" fmla="*/ 3753449 w 3755940"/>
              <a:gd name="connsiteY3" fmla="*/ 3762701 h 3767718"/>
              <a:gd name="connsiteX4" fmla="*/ 3755940 w 3755940"/>
              <a:gd name="connsiteY4" fmla="*/ 3767718 h 3767718"/>
              <a:gd name="connsiteX5" fmla="*/ 2499239 w 3755940"/>
              <a:gd name="connsiteY5" fmla="*/ 3767718 h 3767718"/>
              <a:gd name="connsiteX6" fmla="*/ 2498278 w 3755940"/>
              <a:gd name="connsiteY6" fmla="*/ 3765796 h 3767718"/>
              <a:gd name="connsiteX7" fmla="*/ 1255918 w 3755940"/>
              <a:gd name="connsiteY7" fmla="*/ 1279154 h 3767718"/>
              <a:gd name="connsiteX8" fmla="*/ 1255918 w 3755940"/>
              <a:gd name="connsiteY8" fmla="*/ 3767718 h 3767718"/>
              <a:gd name="connsiteX9" fmla="*/ 1252431 w 3755940"/>
              <a:gd name="connsiteY9" fmla="*/ 3767718 h 3767718"/>
              <a:gd name="connsiteX10" fmla="*/ 0 w 3755940"/>
              <a:gd name="connsiteY10" fmla="*/ 3767718 h 3767718"/>
              <a:gd name="connsiteX11" fmla="*/ 0 w 3755940"/>
              <a:gd name="connsiteY11" fmla="*/ 1264422 h 3767718"/>
              <a:gd name="connsiteX12" fmla="*/ 299364 w 3755940"/>
              <a:gd name="connsiteY12" fmla="*/ 383020 h 3767718"/>
              <a:gd name="connsiteX13" fmla="*/ 1221722 w 3755940"/>
              <a:gd name="connsiteY13" fmla="*/ 0 h 3767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55940" h="3767718">
                <a:moveTo>
                  <a:pt x="1221722" y="0"/>
                </a:moveTo>
                <a:cubicBezTo>
                  <a:pt x="1554534" y="0"/>
                  <a:pt x="1814293" y="189446"/>
                  <a:pt x="2020606" y="439029"/>
                </a:cubicBezTo>
                <a:cubicBezTo>
                  <a:pt x="2226883" y="688575"/>
                  <a:pt x="2380212" y="998721"/>
                  <a:pt x="2500058" y="1241044"/>
                </a:cubicBezTo>
                <a:lnTo>
                  <a:pt x="3753449" y="3762701"/>
                </a:lnTo>
                <a:lnTo>
                  <a:pt x="3755940" y="3767718"/>
                </a:lnTo>
                <a:lnTo>
                  <a:pt x="2499239" y="3767718"/>
                </a:lnTo>
                <a:lnTo>
                  <a:pt x="2498278" y="3765796"/>
                </a:lnTo>
                <a:lnTo>
                  <a:pt x="1255918" y="1279154"/>
                </a:lnTo>
                <a:lnTo>
                  <a:pt x="1255918" y="3767718"/>
                </a:lnTo>
                <a:cubicBezTo>
                  <a:pt x="1255918" y="3767718"/>
                  <a:pt x="1252431" y="3767718"/>
                  <a:pt x="1252431" y="3767718"/>
                </a:cubicBezTo>
                <a:lnTo>
                  <a:pt x="0" y="3767718"/>
                </a:lnTo>
                <a:lnTo>
                  <a:pt x="0" y="1264422"/>
                </a:lnTo>
                <a:cubicBezTo>
                  <a:pt x="0" y="932251"/>
                  <a:pt x="97677" y="616163"/>
                  <a:pt x="299364" y="383020"/>
                </a:cubicBezTo>
                <a:cubicBezTo>
                  <a:pt x="501086" y="149842"/>
                  <a:pt x="806677" y="0"/>
                  <a:pt x="1221722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>
            <a:lvl1pPr>
              <a:defRPr sz="200">
                <a:solidFill>
                  <a:srgbClr val="070F26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32188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019Nexient_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9502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92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187428" y="762000"/>
            <a:ext cx="11828759" cy="304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t>Click to add sub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09441" y="1600200"/>
            <a:ext cx="10969943" cy="4572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173736" y="0"/>
            <a:ext cx="10515600" cy="722376"/>
          </a:xfrm>
          <a:prstGeom prst="rect">
            <a:avLst/>
          </a:prstGeom>
        </p:spPr>
        <p:txBody>
          <a:bodyPr tIns="109728" anchor="ctr"/>
          <a:lstStyle>
            <a:lvl1pPr marL="226468" marR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 kumimoji="1" lang="en-US" sz="2400" kern="1200" spc="0" baseline="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marL="226468" marR="0" lvl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61243019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タイトルのみ" type="titleOnly">
  <p:cSld name="タイトルのみ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28"/>
          <p:cNvSpPr txBox="1">
            <a:spLocks noGrp="1"/>
          </p:cNvSpPr>
          <p:nvPr>
            <p:ph type="title"/>
          </p:nvPr>
        </p:nvSpPr>
        <p:spPr>
          <a:xfrm>
            <a:off x="696000" y="116696"/>
            <a:ext cx="10800000" cy="57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0800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1960286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549113B-4F36-C4AF-39A3-1DE7B13B09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199" y="1981200"/>
            <a:ext cx="5568243" cy="1347788"/>
          </a:xfrm>
        </p:spPr>
        <p:txBody>
          <a:bodyPr>
            <a:noAutofit/>
          </a:bodyPr>
          <a:lstStyle>
            <a:lvl1pPr>
              <a:lnSpc>
                <a:spcPts val="1200"/>
              </a:lnSpc>
              <a:defRPr lang="en-US" sz="1200" b="0" i="0" kern="1200" dirty="0">
                <a:solidFill>
                  <a:srgbClr val="1C1B1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ts val="2000"/>
              </a:lnSpc>
              <a:spcBef>
                <a:spcPts val="1000"/>
              </a:spcBef>
              <a:buClr>
                <a:srgbClr val="1C1B1F"/>
              </a:buClr>
              <a:buFont typeface="Wingdings" pitchFamily="2" charset="2"/>
              <a:buNone/>
            </a:pPr>
            <a:r>
              <a:rPr lang="en-US"/>
              <a:t>Here’s a body headlin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90C7242-C8F0-134D-144C-9E3F4C1F4E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5568244" cy="1189039"/>
          </a:xfrm>
        </p:spPr>
        <p:txBody>
          <a:bodyPr anchor="t"/>
          <a:lstStyle>
            <a:lvl1pPr>
              <a:lnSpc>
                <a:spcPts val="2800"/>
              </a:lnSpc>
              <a:defRPr sz="2800" b="1" i="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C85E13D-3C55-B459-90F3-BBBFD2E94F8C}"/>
              </a:ext>
            </a:extLst>
          </p:cNvPr>
          <p:cNvSpPr/>
          <p:nvPr userDrawn="1"/>
        </p:nvSpPr>
        <p:spPr>
          <a:xfrm>
            <a:off x="2917805" y="4249578"/>
            <a:ext cx="670264" cy="219456"/>
          </a:xfrm>
          <a:prstGeom prst="roundRect">
            <a:avLst>
              <a:gd name="adj" fmla="val 50000"/>
            </a:avLst>
          </a:prstGeom>
          <a:solidFill>
            <a:srgbClr val="F2F1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srgbClr val="E5E4E7"/>
                </a:solidFill>
                <a:latin typeface="+mn-lt"/>
              </a:rPr>
              <a:t>Aim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63E0A712-C815-0FAC-2131-69C3B5D14B4D}"/>
              </a:ext>
            </a:extLst>
          </p:cNvPr>
          <p:cNvSpPr/>
          <p:nvPr userDrawn="1"/>
        </p:nvSpPr>
        <p:spPr>
          <a:xfrm>
            <a:off x="3662025" y="4249578"/>
            <a:ext cx="670264" cy="219456"/>
          </a:xfrm>
          <a:prstGeom prst="roundRect">
            <a:avLst>
              <a:gd name="adj" fmla="val 50000"/>
            </a:avLst>
          </a:prstGeom>
          <a:solidFill>
            <a:srgbClr val="F2F1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srgbClr val="E5E4E7"/>
                </a:solidFill>
                <a:latin typeface="+mn-lt"/>
              </a:rPr>
              <a:t>Engag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B97131D-D437-2E25-8DB7-D04619A2B68F}"/>
              </a:ext>
            </a:extLst>
          </p:cNvPr>
          <p:cNvSpPr/>
          <p:nvPr userDrawn="1"/>
        </p:nvSpPr>
        <p:spPr>
          <a:xfrm>
            <a:off x="4406292" y="4249578"/>
            <a:ext cx="670264" cy="219456"/>
          </a:xfrm>
          <a:prstGeom prst="roundRect">
            <a:avLst>
              <a:gd name="adj" fmla="val 50000"/>
            </a:avLst>
          </a:prstGeom>
          <a:solidFill>
            <a:srgbClr val="F2F1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srgbClr val="E5E4E7"/>
                </a:solidFill>
                <a:latin typeface="+mn-lt"/>
              </a:rPr>
              <a:t>Grow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D4BA5A7-51BE-FFCF-99E0-5C1061C0CF6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764024"/>
            <a:ext cx="1904337" cy="184527"/>
          </a:xfrm>
        </p:spPr>
        <p:txBody>
          <a:bodyPr/>
          <a:lstStyle>
            <a:lvl1pPr marL="0" indent="0" algn="l" defTabSz="914400" rtl="0" eaLnBrk="1" latinLnBrk="0" hangingPunct="1">
              <a:lnSpc>
                <a:spcPts val="1200"/>
              </a:lnSpc>
              <a:spcBef>
                <a:spcPts val="1000"/>
              </a:spcBef>
              <a:buClr>
                <a:srgbClr val="1C1B1F"/>
              </a:buClr>
              <a:buFont typeface="Wingdings" pitchFamily="2" charset="2"/>
              <a:buNone/>
              <a:defRPr lang="en-US" sz="1200" b="1" i="0" kern="1200" dirty="0">
                <a:solidFill>
                  <a:srgbClr val="1C1B1F"/>
                </a:solidFill>
                <a:latin typeface="+mn-lt"/>
                <a:ea typeface="Roboto" panose="02000000000000000000" pitchFamily="2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What we did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DC42A92-C401-76EC-E49A-3033A56AC5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43200" y="4764024"/>
            <a:ext cx="2293937" cy="184527"/>
          </a:xfrm>
        </p:spPr>
        <p:txBody>
          <a:bodyPr/>
          <a:lstStyle>
            <a:lvl1pPr marL="0" indent="0" algn="l" defTabSz="914400" rtl="0" eaLnBrk="1" latinLnBrk="0" hangingPunct="1">
              <a:lnSpc>
                <a:spcPts val="1200"/>
              </a:lnSpc>
              <a:spcBef>
                <a:spcPts val="1000"/>
              </a:spcBef>
              <a:buClr>
                <a:srgbClr val="1C1B1F"/>
              </a:buClr>
              <a:buFont typeface="Wingdings" pitchFamily="2" charset="2"/>
              <a:buNone/>
              <a:defRPr lang="en-US" sz="1200" b="1" i="0" kern="1200" dirty="0">
                <a:solidFill>
                  <a:srgbClr val="1C1B1F"/>
                </a:solidFill>
                <a:latin typeface="+mn-lt"/>
                <a:ea typeface="Roboto" panose="02000000000000000000" pitchFamily="2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Technology used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91541B25-AC92-A167-AE20-34DD3A2AC8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074920"/>
            <a:ext cx="1904337" cy="1357978"/>
          </a:xfrm>
        </p:spPr>
        <p:txBody>
          <a:bodyPr/>
          <a:lstStyle>
            <a:lvl1pPr marL="0" indent="0" algn="l" defTabSz="914400" rtl="0" eaLnBrk="1" latinLnBrk="0" hangingPunct="1">
              <a:lnSpc>
                <a:spcPts val="1200"/>
              </a:lnSpc>
              <a:spcBef>
                <a:spcPts val="1000"/>
              </a:spcBef>
              <a:spcAft>
                <a:spcPts val="0"/>
              </a:spcAft>
              <a:buClr>
                <a:srgbClr val="1C1B1F"/>
              </a:buClr>
              <a:buFont typeface="Wingdings" pitchFamily="2" charset="2"/>
              <a:buNone/>
              <a:defRPr lang="en-US" sz="1200" b="0" i="0" kern="1200" dirty="0">
                <a:solidFill>
                  <a:srgbClr val="1C1B1F"/>
                </a:solidFill>
                <a:latin typeface="+mn-lt"/>
                <a:ea typeface="Roboto" panose="02000000000000000000" pitchFamily="2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Item 1</a:t>
            </a:r>
          </a:p>
          <a:p>
            <a:pPr lvl="0"/>
            <a:r>
              <a:rPr lang="en-US"/>
              <a:t>Item 2</a:t>
            </a:r>
          </a:p>
          <a:p>
            <a:pPr lvl="0"/>
            <a:r>
              <a:rPr lang="en-US"/>
              <a:t>Item 3</a:t>
            </a:r>
          </a:p>
          <a:p>
            <a:pPr lvl="0"/>
            <a:r>
              <a:rPr lang="en-US"/>
              <a:t>Item 4</a:t>
            </a:r>
          </a:p>
          <a:p>
            <a:pPr lvl="0"/>
            <a:r>
              <a:rPr lang="en-US"/>
              <a:t>Item 5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3AE9250D-1E69-FDC9-F01C-645A4E298A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43200" y="5074920"/>
            <a:ext cx="2319112" cy="1357978"/>
          </a:xfrm>
        </p:spPr>
        <p:txBody>
          <a:bodyPr wrap="square"/>
          <a:lstStyle>
            <a:lvl1pPr marL="0" indent="0" algn="l" defTabSz="914400" rtl="0" eaLnBrk="1" latinLnBrk="0" hangingPunct="1">
              <a:lnSpc>
                <a:spcPts val="1200"/>
              </a:lnSpc>
              <a:spcBef>
                <a:spcPts val="2400"/>
              </a:spcBef>
              <a:spcAft>
                <a:spcPts val="0"/>
              </a:spcAft>
              <a:buClr>
                <a:srgbClr val="1C1B1F"/>
              </a:buClr>
              <a:buFont typeface="Wingdings" pitchFamily="2" charset="2"/>
              <a:buNone/>
              <a:defRPr lang="en-US" sz="1200" b="0" i="0" kern="1200" dirty="0">
                <a:solidFill>
                  <a:srgbClr val="1C1B1F"/>
                </a:solidFill>
                <a:latin typeface="+mn-lt"/>
                <a:ea typeface="Roboto" panose="02000000000000000000" pitchFamily="2" charset="0"/>
                <a:cs typeface="Segoe UI" panose="020B0502040204020203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ts val="1200"/>
              </a:lnSpc>
              <a:spcBef>
                <a:spcPts val="1000"/>
              </a:spcBef>
              <a:buClr>
                <a:srgbClr val="1C1B1F"/>
              </a:buClr>
              <a:buFont typeface="Wingdings" pitchFamily="2" charset="2"/>
              <a:buNone/>
            </a:pPr>
            <a:r>
              <a:rPr lang="en-US"/>
              <a:t>Item 1</a:t>
            </a:r>
          </a:p>
          <a:p>
            <a:pPr marL="0" lvl="0" indent="0" algn="l" defTabSz="914400" rtl="0" eaLnBrk="1" latinLnBrk="0" hangingPunct="1">
              <a:lnSpc>
                <a:spcPts val="1200"/>
              </a:lnSpc>
              <a:spcBef>
                <a:spcPts val="1000"/>
              </a:spcBef>
              <a:buClr>
                <a:srgbClr val="1C1B1F"/>
              </a:buClr>
              <a:buFont typeface="Wingdings" pitchFamily="2" charset="2"/>
              <a:buNone/>
            </a:pPr>
            <a:r>
              <a:rPr lang="en-US"/>
              <a:t>Item 2</a:t>
            </a:r>
          </a:p>
          <a:p>
            <a:pPr marL="0" lvl="0" indent="0" algn="l" defTabSz="914400" rtl="0" eaLnBrk="1" latinLnBrk="0" hangingPunct="1">
              <a:lnSpc>
                <a:spcPts val="1200"/>
              </a:lnSpc>
              <a:spcBef>
                <a:spcPts val="1000"/>
              </a:spcBef>
              <a:buClr>
                <a:srgbClr val="1C1B1F"/>
              </a:buClr>
              <a:buFont typeface="Wingdings" pitchFamily="2" charset="2"/>
              <a:buNone/>
            </a:pPr>
            <a:r>
              <a:rPr lang="en-US"/>
              <a:t>Item 3</a:t>
            </a:r>
          </a:p>
          <a:p>
            <a:pPr marL="0" lvl="0" indent="0" algn="l" defTabSz="914400" rtl="0" eaLnBrk="1" latinLnBrk="0" hangingPunct="1">
              <a:lnSpc>
                <a:spcPts val="1200"/>
              </a:lnSpc>
              <a:spcBef>
                <a:spcPts val="1000"/>
              </a:spcBef>
              <a:buClr>
                <a:srgbClr val="1C1B1F"/>
              </a:buClr>
              <a:buFont typeface="Wingdings" pitchFamily="2" charset="2"/>
              <a:buNone/>
            </a:pPr>
            <a:r>
              <a:rPr lang="en-US"/>
              <a:t>Item 4</a:t>
            </a:r>
          </a:p>
          <a:p>
            <a:pPr marL="0" lvl="0" indent="0" algn="l" defTabSz="914400" rtl="0" eaLnBrk="1" latinLnBrk="0" hangingPunct="1">
              <a:lnSpc>
                <a:spcPts val="1200"/>
              </a:lnSpc>
              <a:spcBef>
                <a:spcPts val="1000"/>
              </a:spcBef>
              <a:buClr>
                <a:srgbClr val="1C1B1F"/>
              </a:buClr>
              <a:buFont typeface="Wingdings" pitchFamily="2" charset="2"/>
              <a:buNone/>
            </a:pPr>
            <a:r>
              <a:rPr lang="en-US"/>
              <a:t>Item 5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EFDCD1D-65BF-4D38-2EC3-5851A34DE6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4548CF-7E50-D073-5B6D-1A37508FD43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5665B8-96C6-9B4D-09B1-CA2BA6507E4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sz="700" b="0" spc="0"/>
              <a:t> © 2023 NTT DATA Americas, Inc. All rights.   </a:t>
            </a:r>
            <a:fld id="{FE1DF7C7-AE50-704D-BB22-8176CCB5033A}" type="slidenum">
              <a:rPr lang="en-US" spc="0" smtClean="0"/>
              <a:pPr/>
              <a:t>‹#›</a:t>
            </a:fld>
            <a:endParaRPr lang="en-US" spc="0"/>
          </a:p>
        </p:txBody>
      </p:sp>
    </p:spTree>
    <p:extLst>
      <p:ext uri="{BB962C8B-B14F-4D97-AF65-F5344CB8AC3E}">
        <p14:creationId xmlns:p14="http://schemas.microsoft.com/office/powerpoint/2010/main" val="10290941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_Title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332399"/>
          </a:xfrm>
        </p:spPr>
        <p:txBody>
          <a:bodyPr vert="horz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9E5DDFBC-BBD8-FCF3-FDD5-BDAF7615B1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475" y="728663"/>
            <a:ext cx="11449050" cy="28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995620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_Cover_Full Image, Partial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mart Navy SemiTrans Overlay">
            <a:extLst>
              <a:ext uri="{FF2B5EF4-FFF2-40B4-BE49-F238E27FC236}">
                <a16:creationId xmlns:a16="http://schemas.microsoft.com/office/drawing/2014/main" id="{39BA9756-44A4-AC93-1405-84B020B6F4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/>
              <a:t> 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B69904B-F3B0-9924-1277-D5E10CC8F9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pt-BR"/>
          </a:p>
        </p:txBody>
      </p:sp>
      <p:sp>
        <p:nvSpPr>
          <p:cNvPr id="8" name="Innovation Curve">
            <a:extLst>
              <a:ext uri="{FF2B5EF4-FFF2-40B4-BE49-F238E27FC236}">
                <a16:creationId xmlns:a16="http://schemas.microsoft.com/office/drawing/2014/main" id="{F707DE12-3594-93EB-F056-2B2C43B2478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637463" y="3175"/>
            <a:ext cx="4554537" cy="685641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/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C858A80-3045-093E-B563-A7492ACE92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679799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rgbClr val="F8F8F8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CAE6CB7E-3B40-11A3-1BAD-6A73DF9D83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6797992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rgbClr val="F8F8F8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/>
              <a:t>Click to edit Master subtitle style</a:t>
            </a:r>
          </a:p>
        </p:txBody>
      </p:sp>
      <p:sp>
        <p:nvSpPr>
          <p:cNvPr id="13" name="NTT DATA Global Logo" descr="NTT DATA Global Logo">
            <a:extLst>
              <a:ext uri="{FF2B5EF4-FFF2-40B4-BE49-F238E27FC236}">
                <a16:creationId xmlns:a16="http://schemas.microsoft.com/office/drawing/2014/main" id="{F1A70F1C-0C1D-4983-5A07-15932C3427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1391580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_Cover_Light_Full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nnovation Curve">
            <a:extLst>
              <a:ext uri="{FF2B5EF4-FFF2-40B4-BE49-F238E27FC236}">
                <a16:creationId xmlns:a16="http://schemas.microsoft.com/office/drawing/2014/main" id="{9211F747-506E-5ED4-9B68-EE6B3F99C9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alphaModFix amt="3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4000" y="-14748"/>
            <a:ext cx="6872748" cy="6872748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1506BD0E-4DCD-8BA9-2037-DE975A1F091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484346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DD68B773-8219-9567-613E-7A2F2D4F6C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4843462" cy="353943"/>
          </a:xfr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/>
              <a:t>Click to edit Master subtitle style</a:t>
            </a:r>
          </a:p>
        </p:txBody>
      </p:sp>
      <p:pic>
        <p:nvPicPr>
          <p:cNvPr id="4" name="NTT DATA Global Logo" descr="NTT DATA Logo">
            <a:extLst>
              <a:ext uri="{FF2B5EF4-FFF2-40B4-BE49-F238E27FC236}">
                <a16:creationId xmlns:a16="http://schemas.microsoft.com/office/drawing/2014/main" id="{07CD756B-D053-7A46-EC8E-FF1D6BF1F70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  <p:sp>
        <p:nvSpPr>
          <p:cNvPr id="7" name="Info Box">
            <a:extLst>
              <a:ext uri="{FF2B5EF4-FFF2-40B4-BE49-F238E27FC236}">
                <a16:creationId xmlns:a16="http://schemas.microsoft.com/office/drawing/2014/main" id="{3CC8FA91-A78C-BC6E-F17A-FF26055644B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0101235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Information Type:</a:t>
            </a:r>
            <a:br>
              <a:rPr lang="en-US" noProof="0"/>
            </a:br>
            <a:r>
              <a:rPr lang="en-US" noProof="0"/>
              <a:t>Company:  </a:t>
            </a:r>
            <a:br>
              <a:rPr lang="en-US" noProof="0"/>
            </a:br>
            <a:r>
              <a:rPr lang="en-US" noProof="0"/>
              <a:t>Information Owner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7C3A6C9-A4AC-5CF1-589F-3D2EAE48A4DC}"/>
              </a:ext>
            </a:extLst>
          </p:cNvPr>
          <p:cNvSpPr txBox="1"/>
          <p:nvPr userDrawn="1"/>
        </p:nvSpPr>
        <p:spPr>
          <a:xfrm>
            <a:off x="371475" y="6529148"/>
            <a:ext cx="1593385" cy="123111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 Services, LLC. 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459597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_Cover_Light_Partial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nnovation Curve">
            <a:extLst>
              <a:ext uri="{FF2B5EF4-FFF2-40B4-BE49-F238E27FC236}">
                <a16:creationId xmlns:a16="http://schemas.microsoft.com/office/drawing/2014/main" id="{00ADE50C-F63B-648C-9FD0-E0FA384DFD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6952" y="0"/>
            <a:ext cx="4602549" cy="6876288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82ADFA92-0E48-355A-2DA8-D40523A9A84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6969876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8B12889-37ED-D704-59B8-7CECF20BCF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6969876" cy="353943"/>
          </a:xfr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/>
              <a:t>Click to edit Master subtitle style</a:t>
            </a:r>
          </a:p>
        </p:txBody>
      </p:sp>
      <p:pic>
        <p:nvPicPr>
          <p:cNvPr id="5" name="NTT DATA Global Logo">
            <a:extLst>
              <a:ext uri="{FF2B5EF4-FFF2-40B4-BE49-F238E27FC236}">
                <a16:creationId xmlns:a16="http://schemas.microsoft.com/office/drawing/2014/main" id="{6696BBEF-690F-3F5E-4ABD-464267D3697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  <p:sp>
        <p:nvSpPr>
          <p:cNvPr id="6" name="Info Box">
            <a:extLst>
              <a:ext uri="{FF2B5EF4-FFF2-40B4-BE49-F238E27FC236}">
                <a16:creationId xmlns:a16="http://schemas.microsoft.com/office/drawing/2014/main" id="{A934FE38-155A-D06E-C380-44183B71379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71475" y="5875374"/>
            <a:ext cx="1958400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/>
              <a:t>Information Type:</a:t>
            </a:r>
            <a:br>
              <a:rPr lang="en-US" noProof="0"/>
            </a:br>
            <a:r>
              <a:rPr lang="en-US" noProof="0"/>
              <a:t>Company:  </a:t>
            </a:r>
            <a:br>
              <a:rPr lang="en-US" noProof="0"/>
            </a:br>
            <a:r>
              <a:rPr lang="en-US" noProof="0"/>
              <a:t>Information Owner: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42789AF-0861-9DEB-5679-E287E134D8A4}"/>
              </a:ext>
            </a:extLst>
          </p:cNvPr>
          <p:cNvSpPr txBox="1"/>
          <p:nvPr userDrawn="1"/>
        </p:nvSpPr>
        <p:spPr>
          <a:xfrm>
            <a:off x="371475" y="6529148"/>
            <a:ext cx="1593385" cy="123111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 Services, LLC. 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994176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_Cover_Light_No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69CCA6BB-2FF1-1F79-CE75-4214597FB51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11440477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FFBC9B23-4469-4B26-BEC9-4E111C2B8F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11440477" cy="353943"/>
          </a:xfr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/>
              <a:t>Click to edit Master subtitle style</a:t>
            </a:r>
          </a:p>
        </p:txBody>
      </p:sp>
      <p:sp>
        <p:nvSpPr>
          <p:cNvPr id="2" name="Info Box">
            <a:extLst>
              <a:ext uri="{FF2B5EF4-FFF2-40B4-BE49-F238E27FC236}">
                <a16:creationId xmlns:a16="http://schemas.microsoft.com/office/drawing/2014/main" id="{7460FF67-E88C-345F-912C-69776540AF2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/>
              <a:t>Information Type:</a:t>
            </a:r>
            <a:br>
              <a:rPr lang="en-US" noProof="0"/>
            </a:br>
            <a:r>
              <a:rPr lang="en-US" noProof="0"/>
              <a:t>Company:  </a:t>
            </a:r>
            <a:br>
              <a:rPr lang="en-US" noProof="0"/>
            </a:br>
            <a:r>
              <a:rPr lang="en-US" noProof="0"/>
              <a:t>Information Owner:</a:t>
            </a:r>
          </a:p>
        </p:txBody>
      </p:sp>
      <p:pic>
        <p:nvPicPr>
          <p:cNvPr id="5" name="NTT DATA Global Logo">
            <a:extLst>
              <a:ext uri="{FF2B5EF4-FFF2-40B4-BE49-F238E27FC236}">
                <a16:creationId xmlns:a16="http://schemas.microsoft.com/office/drawing/2014/main" id="{2F900288-9276-0271-5B36-DA597F55D4E8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5E653F7-D4C0-9FF0-4933-4143A2D647A6}"/>
              </a:ext>
            </a:extLst>
          </p:cNvPr>
          <p:cNvSpPr txBox="1"/>
          <p:nvPr userDrawn="1"/>
        </p:nvSpPr>
        <p:spPr>
          <a:xfrm>
            <a:off x="371475" y="6529148"/>
            <a:ext cx="1593385" cy="123111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 Services, LLC. 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51124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lumn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066817-B6CF-A2DE-966F-DB9281D305B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1000" y="1371600"/>
            <a:ext cx="5562600" cy="48768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27829AD-F282-6D19-1BDE-62A372EE463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8400" y="1371600"/>
            <a:ext cx="5562600" cy="48768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DCFB687-132C-1CA9-8A9A-779EFBBCE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45720" rIns="0" bIns="45720" rtlCol="0" anchor="t">
            <a:noAutofit/>
          </a:bodyPr>
          <a:lstStyle>
            <a:lvl1pPr>
              <a:defRPr lang="en-US"/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179F7A9-35D1-1344-0A60-0E8C3F562CD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400800"/>
            <a:ext cx="914400" cy="304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November 2023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E9646E-BBCC-2CA0-9416-FFBF3870D6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71600" y="6400800"/>
            <a:ext cx="4114800" cy="304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2023 NTT DATA, Inc. | NTT Ltd. and its affiliates are NTT DATA, Inc. companies.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FFA3CBC-D481-CBC2-5EFC-A4CAE0345F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60D39823-8059-4D49-BD26-6D32C31B862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403901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_Cover_Light_Imag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4C066D7D-0D2A-E525-7A09-B865124FD30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3352800"/>
            <a:ext cx="12192000" cy="3505200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 marL="914400" indent="0">
              <a:buNone/>
              <a:defRPr>
                <a:noFill/>
              </a:defRPr>
            </a:lvl3pPr>
            <a:lvl4pPr marL="1371600" indent="0">
              <a:buNone/>
              <a:defRPr>
                <a:noFill/>
              </a:defRPr>
            </a:lvl4pPr>
            <a:lvl5pPr marL="1828800" indent="0">
              <a:buNone/>
              <a:defRPr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52800"/>
            <a:ext cx="12192000" cy="35096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image.</a:t>
            </a:r>
            <a:br>
              <a:rPr lang="en-US"/>
            </a:br>
            <a:r>
              <a:rPr lang="en-US"/>
              <a:t>Then Reorder: Send to back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84AF061-2BD7-B395-13B3-8F8BF41722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2050182"/>
            <a:ext cx="11449049" cy="6096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nter the subtitle text</a:t>
            </a:r>
          </a:p>
        </p:txBody>
      </p:sp>
      <p:sp>
        <p:nvSpPr>
          <p:cNvPr id="7" name="MainTitle">
            <a:extLst>
              <a:ext uri="{FF2B5EF4-FFF2-40B4-BE49-F238E27FC236}">
                <a16:creationId xmlns:a16="http://schemas.microsoft.com/office/drawing/2014/main" id="{6B8D68FD-3EFC-86B8-83A6-942558B1B3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412875"/>
            <a:ext cx="11449050" cy="651610"/>
          </a:xfrm>
        </p:spPr>
        <p:txBody>
          <a:bodyPr/>
          <a:lstStyle>
            <a:lvl1pPr>
              <a:defRPr sz="44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4" name="Innovation Curve Over">
            <a:extLst>
              <a:ext uri="{FF2B5EF4-FFF2-40B4-BE49-F238E27FC236}">
                <a16:creationId xmlns:a16="http://schemas.microsoft.com/office/drawing/2014/main" id="{0E296AC8-E4D5-3A7F-3C42-CC289AAB1E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67800" y="3733800"/>
            <a:ext cx="2741663" cy="27432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F45B6080-7233-0809-75A8-E904530DE0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3147301"/>
            <a:ext cx="5123498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Info box">
            <a:extLst>
              <a:ext uri="{FF2B5EF4-FFF2-40B4-BE49-F238E27FC236}">
                <a16:creationId xmlns:a16="http://schemas.microsoft.com/office/drawing/2014/main" id="{979EC8F5-DC72-37F6-85BB-C3ADC50D2DF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/>
              <a:t>Information Type:</a:t>
            </a:r>
            <a:br>
              <a:rPr lang="en-US" noProof="0"/>
            </a:br>
            <a:r>
              <a:rPr lang="en-US" noProof="0"/>
              <a:t>Company:  </a:t>
            </a:r>
            <a:br>
              <a:rPr lang="en-US" noProof="0"/>
            </a:br>
            <a:r>
              <a:rPr lang="en-US" noProof="0"/>
              <a:t>Information Owner:</a:t>
            </a:r>
          </a:p>
        </p:txBody>
      </p:sp>
      <p:pic>
        <p:nvPicPr>
          <p:cNvPr id="4" name="NTT DATA Global Logo">
            <a:extLst>
              <a:ext uri="{FF2B5EF4-FFF2-40B4-BE49-F238E27FC236}">
                <a16:creationId xmlns:a16="http://schemas.microsoft.com/office/drawing/2014/main" id="{93955C0C-38C4-366F-0C4D-7A71C122ED7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583705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-Agenda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00052" y="2102867"/>
            <a:ext cx="2021429" cy="1566333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lnSpc>
                <a:spcPct val="90000"/>
              </a:lnSpc>
              <a:buFont typeface="Arial"/>
              <a:buNone/>
              <a:defRPr sz="1400">
                <a:solidFill>
                  <a:schemeClr val="tx1"/>
                </a:solidFill>
                <a:latin typeface="Arial"/>
                <a:cs typeface="Arial"/>
              </a:defRPr>
            </a:lvl1pPr>
            <a:lvl2pPr marL="4233" indent="0">
              <a:buNone/>
              <a:defRPr sz="1200">
                <a:solidFill>
                  <a:schemeClr val="tx2"/>
                </a:solidFill>
                <a:latin typeface="Arial"/>
                <a:cs typeface="Arial"/>
              </a:defRPr>
            </a:lvl2pPr>
            <a:lvl3pPr>
              <a:defRPr sz="1867">
                <a:latin typeface="Source Sans Pro"/>
                <a:cs typeface="Source Sans Pro"/>
              </a:defRPr>
            </a:lvl3pPr>
            <a:lvl4pPr>
              <a:defRPr sz="1867">
                <a:latin typeface="Source Sans Pro"/>
                <a:cs typeface="Source Sans Pro"/>
              </a:defRPr>
            </a:lvl4pPr>
            <a:lvl5pPr>
              <a:defRPr sz="1867">
                <a:latin typeface="Source Sans Pro"/>
                <a:cs typeface="Source Sans Pro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Xxx</a:t>
            </a:r>
            <a:endParaRPr lang="en-US"/>
          </a:p>
          <a:p>
            <a:pPr lvl="1"/>
            <a:r>
              <a:rPr lang="en-US" err="1"/>
              <a:t>Xxx</a:t>
            </a:r>
            <a:endParaRPr lang="en-US"/>
          </a:p>
        </p:txBody>
      </p:sp>
      <p:sp>
        <p:nvSpPr>
          <p:cNvPr id="3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2739832" y="2102867"/>
            <a:ext cx="2021429" cy="1566333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lnSpc>
                <a:spcPct val="90000"/>
              </a:lnSpc>
              <a:buFont typeface="Arial"/>
              <a:buNone/>
              <a:defRPr sz="1400">
                <a:solidFill>
                  <a:schemeClr val="tx1"/>
                </a:solidFill>
                <a:latin typeface="Arial"/>
                <a:cs typeface="Arial"/>
              </a:defRPr>
            </a:lvl1pPr>
            <a:lvl2pPr marL="4233" indent="0">
              <a:buNone/>
              <a:defRPr sz="1200">
                <a:solidFill>
                  <a:schemeClr val="tx2"/>
                </a:solidFill>
                <a:latin typeface="Arial"/>
                <a:cs typeface="Arial"/>
              </a:defRPr>
            </a:lvl2pPr>
            <a:lvl3pPr>
              <a:defRPr sz="1867">
                <a:latin typeface="Source Sans Pro"/>
                <a:cs typeface="Source Sans Pro"/>
              </a:defRPr>
            </a:lvl3pPr>
            <a:lvl4pPr>
              <a:defRPr sz="1867">
                <a:latin typeface="Source Sans Pro"/>
                <a:cs typeface="Source Sans Pro"/>
              </a:defRPr>
            </a:lvl4pPr>
            <a:lvl5pPr>
              <a:defRPr sz="1867">
                <a:latin typeface="Source Sans Pro"/>
                <a:cs typeface="Source Sans Pro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Xxx</a:t>
            </a:r>
            <a:endParaRPr lang="en-US"/>
          </a:p>
          <a:p>
            <a:pPr lvl="1"/>
            <a:r>
              <a:rPr lang="en-US" err="1"/>
              <a:t>Xxx</a:t>
            </a:r>
            <a:endParaRPr lang="en-US"/>
          </a:p>
        </p:txBody>
      </p:sp>
      <p:sp>
        <p:nvSpPr>
          <p:cNvPr id="42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5083394" y="2102867"/>
            <a:ext cx="2021429" cy="1566333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lnSpc>
                <a:spcPct val="90000"/>
              </a:lnSpc>
              <a:buFont typeface="Arial"/>
              <a:buNone/>
              <a:defRPr sz="1400">
                <a:solidFill>
                  <a:schemeClr val="tx1"/>
                </a:solidFill>
                <a:latin typeface="Arial"/>
                <a:cs typeface="Arial"/>
              </a:defRPr>
            </a:lvl1pPr>
            <a:lvl2pPr marL="4233" indent="0">
              <a:buNone/>
              <a:defRPr sz="1200">
                <a:solidFill>
                  <a:schemeClr val="tx2"/>
                </a:solidFill>
                <a:latin typeface="Arial"/>
                <a:cs typeface="Arial"/>
              </a:defRPr>
            </a:lvl2pPr>
            <a:lvl3pPr>
              <a:defRPr sz="1867">
                <a:latin typeface="Source Sans Pro"/>
                <a:cs typeface="Source Sans Pro"/>
              </a:defRPr>
            </a:lvl3pPr>
            <a:lvl4pPr>
              <a:defRPr sz="1867">
                <a:latin typeface="Source Sans Pro"/>
                <a:cs typeface="Source Sans Pro"/>
              </a:defRPr>
            </a:lvl4pPr>
            <a:lvl5pPr>
              <a:defRPr sz="1867">
                <a:latin typeface="Source Sans Pro"/>
                <a:cs typeface="Source Sans Pro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Xxx</a:t>
            </a:r>
            <a:endParaRPr lang="en-US"/>
          </a:p>
          <a:p>
            <a:pPr lvl="1"/>
            <a:r>
              <a:rPr lang="en-US" err="1"/>
              <a:t>Xxx</a:t>
            </a:r>
            <a:endParaRPr lang="en-US"/>
          </a:p>
        </p:txBody>
      </p:sp>
      <p:sp>
        <p:nvSpPr>
          <p:cNvPr id="45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7426956" y="2102867"/>
            <a:ext cx="2021429" cy="1566333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lnSpc>
                <a:spcPct val="90000"/>
              </a:lnSpc>
              <a:buFont typeface="Arial"/>
              <a:buNone/>
              <a:defRPr sz="1400">
                <a:solidFill>
                  <a:schemeClr val="tx1"/>
                </a:solidFill>
                <a:latin typeface="Arial"/>
                <a:cs typeface="Arial"/>
              </a:defRPr>
            </a:lvl1pPr>
            <a:lvl2pPr marL="4233" indent="0">
              <a:buNone/>
              <a:defRPr sz="1200">
                <a:solidFill>
                  <a:schemeClr val="tx1"/>
                </a:solidFill>
                <a:latin typeface="Arial"/>
                <a:cs typeface="Arial"/>
              </a:defRPr>
            </a:lvl2pPr>
            <a:lvl3pPr>
              <a:defRPr sz="1867">
                <a:latin typeface="Source Sans Pro"/>
                <a:cs typeface="Source Sans Pro"/>
              </a:defRPr>
            </a:lvl3pPr>
            <a:lvl4pPr>
              <a:defRPr sz="1867">
                <a:latin typeface="Source Sans Pro"/>
                <a:cs typeface="Source Sans Pro"/>
              </a:defRPr>
            </a:lvl4pPr>
            <a:lvl5pPr>
              <a:defRPr sz="1867">
                <a:latin typeface="Source Sans Pro"/>
                <a:cs typeface="Source Sans Pro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Xxx</a:t>
            </a:r>
            <a:endParaRPr lang="en-US"/>
          </a:p>
          <a:p>
            <a:pPr lvl="1"/>
            <a:r>
              <a:rPr lang="en-US" err="1"/>
              <a:t>Xxx</a:t>
            </a:r>
            <a:endParaRPr lang="en-US"/>
          </a:p>
        </p:txBody>
      </p:sp>
      <p:sp>
        <p:nvSpPr>
          <p:cNvPr id="48" name="Text Placehold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9771124" y="2102867"/>
            <a:ext cx="2021429" cy="1566333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lnSpc>
                <a:spcPct val="90000"/>
              </a:lnSpc>
              <a:buFont typeface="Arial"/>
              <a:buNone/>
              <a:defRPr sz="1400">
                <a:solidFill>
                  <a:schemeClr val="tx1"/>
                </a:solidFill>
                <a:latin typeface="Arial"/>
                <a:cs typeface="Arial"/>
              </a:defRPr>
            </a:lvl1pPr>
            <a:lvl2pPr marL="4233" indent="0">
              <a:buNone/>
              <a:defRPr sz="1200">
                <a:solidFill>
                  <a:schemeClr val="tx1"/>
                </a:solidFill>
                <a:latin typeface="Arial"/>
                <a:cs typeface="Arial"/>
              </a:defRPr>
            </a:lvl2pPr>
            <a:lvl3pPr>
              <a:defRPr sz="1867">
                <a:latin typeface="Source Sans Pro"/>
                <a:cs typeface="Source Sans Pro"/>
              </a:defRPr>
            </a:lvl3pPr>
            <a:lvl4pPr>
              <a:defRPr sz="1867">
                <a:latin typeface="Source Sans Pro"/>
                <a:cs typeface="Source Sans Pro"/>
              </a:defRPr>
            </a:lvl4pPr>
            <a:lvl5pPr>
              <a:defRPr sz="1867">
                <a:latin typeface="Source Sans Pro"/>
                <a:cs typeface="Source Sans Pro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Xxx</a:t>
            </a:r>
            <a:endParaRPr lang="en-US"/>
          </a:p>
          <a:p>
            <a:pPr lvl="1"/>
            <a:r>
              <a:rPr lang="en-US" err="1"/>
              <a:t>Xxx</a:t>
            </a:r>
            <a:endParaRPr lang="en-US"/>
          </a:p>
        </p:txBody>
      </p:sp>
      <p:sp>
        <p:nvSpPr>
          <p:cNvPr id="66" name="Text Placeholder 17"/>
          <p:cNvSpPr>
            <a:spLocks noGrp="1"/>
          </p:cNvSpPr>
          <p:nvPr>
            <p:ph type="body" sz="quarter" idx="21" hasCustomPrompt="1"/>
          </p:nvPr>
        </p:nvSpPr>
        <p:spPr>
          <a:xfrm>
            <a:off x="400052" y="4621702"/>
            <a:ext cx="2021429" cy="1566333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lnSpc>
                <a:spcPct val="90000"/>
              </a:lnSpc>
              <a:buFont typeface="Arial"/>
              <a:buNone/>
              <a:defRPr sz="1400">
                <a:solidFill>
                  <a:schemeClr val="tx1"/>
                </a:solidFill>
                <a:latin typeface="Arial"/>
                <a:cs typeface="Arial"/>
              </a:defRPr>
            </a:lvl1pPr>
            <a:lvl2pPr marL="4233" indent="0">
              <a:buNone/>
              <a:defRPr sz="1200">
                <a:solidFill>
                  <a:schemeClr val="tx2"/>
                </a:solidFill>
                <a:latin typeface="Arial"/>
                <a:cs typeface="Arial"/>
              </a:defRPr>
            </a:lvl2pPr>
            <a:lvl3pPr>
              <a:defRPr sz="1867">
                <a:latin typeface="Source Sans Pro"/>
                <a:cs typeface="Source Sans Pro"/>
              </a:defRPr>
            </a:lvl3pPr>
            <a:lvl4pPr>
              <a:defRPr sz="1867">
                <a:latin typeface="Source Sans Pro"/>
                <a:cs typeface="Source Sans Pro"/>
              </a:defRPr>
            </a:lvl4pPr>
            <a:lvl5pPr>
              <a:defRPr sz="1867">
                <a:latin typeface="Source Sans Pro"/>
                <a:cs typeface="Source Sans Pro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Xxx</a:t>
            </a:r>
            <a:endParaRPr lang="en-US"/>
          </a:p>
          <a:p>
            <a:pPr lvl="1"/>
            <a:r>
              <a:rPr lang="en-US" err="1"/>
              <a:t>Xxx</a:t>
            </a:r>
            <a:endParaRPr lang="en-US"/>
          </a:p>
        </p:txBody>
      </p:sp>
      <p:sp>
        <p:nvSpPr>
          <p:cNvPr id="69" name="Text Placeholder 17"/>
          <p:cNvSpPr>
            <a:spLocks noGrp="1"/>
          </p:cNvSpPr>
          <p:nvPr>
            <p:ph type="body" sz="quarter" idx="23" hasCustomPrompt="1"/>
          </p:nvPr>
        </p:nvSpPr>
        <p:spPr>
          <a:xfrm>
            <a:off x="2739832" y="4621702"/>
            <a:ext cx="2021429" cy="1566333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lnSpc>
                <a:spcPct val="90000"/>
              </a:lnSpc>
              <a:buFont typeface="Arial"/>
              <a:buNone/>
              <a:defRPr sz="1400">
                <a:solidFill>
                  <a:schemeClr val="tx1"/>
                </a:solidFill>
                <a:latin typeface="Arial"/>
                <a:cs typeface="Arial"/>
              </a:defRPr>
            </a:lvl1pPr>
            <a:lvl2pPr marL="4233" indent="0">
              <a:buNone/>
              <a:defRPr sz="1200">
                <a:solidFill>
                  <a:schemeClr val="tx2"/>
                </a:solidFill>
                <a:latin typeface="Arial"/>
                <a:cs typeface="Arial"/>
              </a:defRPr>
            </a:lvl2pPr>
            <a:lvl3pPr>
              <a:defRPr sz="1867">
                <a:latin typeface="Source Sans Pro"/>
                <a:cs typeface="Source Sans Pro"/>
              </a:defRPr>
            </a:lvl3pPr>
            <a:lvl4pPr>
              <a:defRPr sz="1867">
                <a:latin typeface="Source Sans Pro"/>
                <a:cs typeface="Source Sans Pro"/>
              </a:defRPr>
            </a:lvl4pPr>
            <a:lvl5pPr>
              <a:defRPr sz="1867">
                <a:latin typeface="Source Sans Pro"/>
                <a:cs typeface="Source Sans Pro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Xxx</a:t>
            </a:r>
            <a:endParaRPr lang="en-US"/>
          </a:p>
          <a:p>
            <a:pPr lvl="1"/>
            <a:r>
              <a:rPr lang="en-US" err="1"/>
              <a:t>Xxx</a:t>
            </a:r>
            <a:endParaRPr lang="en-US"/>
          </a:p>
        </p:txBody>
      </p:sp>
      <p:sp>
        <p:nvSpPr>
          <p:cNvPr id="72" name="Text Placeholder 17"/>
          <p:cNvSpPr>
            <a:spLocks noGrp="1"/>
          </p:cNvSpPr>
          <p:nvPr>
            <p:ph type="body" sz="quarter" idx="25" hasCustomPrompt="1"/>
          </p:nvPr>
        </p:nvSpPr>
        <p:spPr>
          <a:xfrm>
            <a:off x="5083394" y="4621702"/>
            <a:ext cx="2021429" cy="1566333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lnSpc>
                <a:spcPct val="90000"/>
              </a:lnSpc>
              <a:buFont typeface="Arial"/>
              <a:buNone/>
              <a:defRPr sz="1400">
                <a:solidFill>
                  <a:schemeClr val="tx1"/>
                </a:solidFill>
                <a:latin typeface="Arial"/>
                <a:cs typeface="Arial"/>
              </a:defRPr>
            </a:lvl1pPr>
            <a:lvl2pPr marL="4233" indent="0">
              <a:buNone/>
              <a:defRPr sz="1200">
                <a:solidFill>
                  <a:schemeClr val="tx2"/>
                </a:solidFill>
                <a:latin typeface="Arial"/>
                <a:cs typeface="Arial"/>
              </a:defRPr>
            </a:lvl2pPr>
            <a:lvl3pPr>
              <a:defRPr sz="1867">
                <a:latin typeface="Source Sans Pro"/>
                <a:cs typeface="Source Sans Pro"/>
              </a:defRPr>
            </a:lvl3pPr>
            <a:lvl4pPr>
              <a:defRPr sz="1867">
                <a:latin typeface="Source Sans Pro"/>
                <a:cs typeface="Source Sans Pro"/>
              </a:defRPr>
            </a:lvl4pPr>
            <a:lvl5pPr>
              <a:defRPr sz="1867">
                <a:latin typeface="Source Sans Pro"/>
                <a:cs typeface="Source Sans Pro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Xxx</a:t>
            </a:r>
            <a:endParaRPr lang="en-US"/>
          </a:p>
          <a:p>
            <a:pPr lvl="1"/>
            <a:r>
              <a:rPr lang="en-US" err="1"/>
              <a:t>Xxx</a:t>
            </a:r>
            <a:endParaRPr lang="en-US"/>
          </a:p>
        </p:txBody>
      </p:sp>
      <p:sp>
        <p:nvSpPr>
          <p:cNvPr id="75" name="Text Placeholder 17"/>
          <p:cNvSpPr>
            <a:spLocks noGrp="1"/>
          </p:cNvSpPr>
          <p:nvPr>
            <p:ph type="body" sz="quarter" idx="27" hasCustomPrompt="1"/>
          </p:nvPr>
        </p:nvSpPr>
        <p:spPr>
          <a:xfrm>
            <a:off x="7426956" y="4621702"/>
            <a:ext cx="2021429" cy="1566333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lnSpc>
                <a:spcPct val="90000"/>
              </a:lnSpc>
              <a:buFont typeface="Arial"/>
              <a:buNone/>
              <a:defRPr sz="1400">
                <a:solidFill>
                  <a:schemeClr val="tx1"/>
                </a:solidFill>
                <a:latin typeface="Arial"/>
                <a:cs typeface="Arial"/>
              </a:defRPr>
            </a:lvl1pPr>
            <a:lvl2pPr marL="0" indent="0">
              <a:buNone/>
              <a:defRPr sz="1200">
                <a:solidFill>
                  <a:schemeClr val="tx2"/>
                </a:solidFill>
                <a:latin typeface="Arial"/>
                <a:cs typeface="Arial"/>
              </a:defRPr>
            </a:lvl2pPr>
            <a:lvl3pPr>
              <a:defRPr sz="1867">
                <a:latin typeface="Source Sans Pro"/>
                <a:cs typeface="Source Sans Pro"/>
              </a:defRPr>
            </a:lvl3pPr>
            <a:lvl4pPr>
              <a:defRPr sz="1867">
                <a:latin typeface="Source Sans Pro"/>
                <a:cs typeface="Source Sans Pro"/>
              </a:defRPr>
            </a:lvl4pPr>
            <a:lvl5pPr>
              <a:defRPr sz="1867">
                <a:latin typeface="Source Sans Pro"/>
                <a:cs typeface="Source Sans Pro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Xxx</a:t>
            </a:r>
            <a:endParaRPr lang="en-US"/>
          </a:p>
          <a:p>
            <a:pPr lvl="1"/>
            <a:r>
              <a:rPr lang="en-US" err="1"/>
              <a:t>Xxx</a:t>
            </a:r>
            <a:endParaRPr lang="en-US"/>
          </a:p>
        </p:txBody>
      </p:sp>
      <p:sp>
        <p:nvSpPr>
          <p:cNvPr id="78" name="Text Placeholder 17"/>
          <p:cNvSpPr>
            <a:spLocks noGrp="1"/>
          </p:cNvSpPr>
          <p:nvPr>
            <p:ph type="body" sz="quarter" idx="29" hasCustomPrompt="1"/>
          </p:nvPr>
        </p:nvSpPr>
        <p:spPr>
          <a:xfrm>
            <a:off x="9771124" y="4621702"/>
            <a:ext cx="2021429" cy="1566333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lnSpc>
                <a:spcPct val="90000"/>
              </a:lnSpc>
              <a:buFont typeface="Arial"/>
              <a:buNone/>
              <a:defRPr sz="1400">
                <a:solidFill>
                  <a:schemeClr val="tx1"/>
                </a:solidFill>
                <a:latin typeface="Arial"/>
                <a:cs typeface="Arial"/>
              </a:defRPr>
            </a:lvl1pPr>
            <a:lvl2pPr marL="4233" indent="0">
              <a:buNone/>
              <a:defRPr sz="1200">
                <a:solidFill>
                  <a:schemeClr val="tx2"/>
                </a:solidFill>
                <a:latin typeface="Arial"/>
                <a:cs typeface="Arial"/>
              </a:defRPr>
            </a:lvl2pPr>
            <a:lvl3pPr>
              <a:defRPr sz="1867">
                <a:latin typeface="Source Sans Pro"/>
                <a:cs typeface="Source Sans Pro"/>
              </a:defRPr>
            </a:lvl3pPr>
            <a:lvl4pPr>
              <a:defRPr sz="1867">
                <a:latin typeface="Source Sans Pro"/>
                <a:cs typeface="Source Sans Pro"/>
              </a:defRPr>
            </a:lvl4pPr>
            <a:lvl5pPr>
              <a:defRPr sz="1867">
                <a:latin typeface="Source Sans Pro"/>
                <a:cs typeface="Source Sans Pro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Xxx</a:t>
            </a:r>
            <a:endParaRPr lang="en-US"/>
          </a:p>
          <a:p>
            <a:pPr lvl="1"/>
            <a:r>
              <a:rPr lang="en-US" err="1"/>
              <a:t>Xxx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B42763-2BE1-4E01-85BC-2A326ECB10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DEDCC8-16D8-495B-B718-06E709D1825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6875" y="1426058"/>
            <a:ext cx="2020824" cy="485775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392102" indent="0">
              <a:buNone/>
              <a:defRPr b="1"/>
            </a:lvl2pPr>
            <a:lvl3pPr marL="747712" indent="0">
              <a:buNone/>
              <a:defRPr b="1"/>
            </a:lvl3pPr>
            <a:lvl4pPr marL="1028700" indent="0">
              <a:buNone/>
              <a:defRPr b="1"/>
            </a:lvl4pPr>
            <a:lvl5pPr marL="1296987" indent="0">
              <a:buNone/>
              <a:defRPr b="1"/>
            </a:lvl5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33D0B929-1B40-4D49-9797-0A09BBDE640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740437" y="1426058"/>
            <a:ext cx="2020824" cy="485775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392102" indent="0">
              <a:buNone/>
              <a:defRPr b="1"/>
            </a:lvl2pPr>
            <a:lvl3pPr marL="747712" indent="0">
              <a:buNone/>
              <a:defRPr b="1"/>
            </a:lvl3pPr>
            <a:lvl4pPr marL="1028700" indent="0">
              <a:buNone/>
              <a:defRPr b="1"/>
            </a:lvl4pPr>
            <a:lvl5pPr marL="1296987" indent="0">
              <a:buNone/>
              <a:defRPr b="1"/>
            </a:lvl5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46A01C54-C903-4C37-B35F-F8DD317F054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083999" y="1426058"/>
            <a:ext cx="2020824" cy="485775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392102" indent="0">
              <a:buNone/>
              <a:defRPr b="1"/>
            </a:lvl2pPr>
            <a:lvl3pPr marL="747712" indent="0">
              <a:buNone/>
              <a:defRPr b="1"/>
            </a:lvl3pPr>
            <a:lvl4pPr marL="1028700" indent="0">
              <a:buNone/>
              <a:defRPr b="1"/>
            </a:lvl4pPr>
            <a:lvl5pPr marL="1296987" indent="0">
              <a:buNone/>
              <a:defRPr b="1"/>
            </a:lvl5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37E1EC7A-189D-41AA-8F73-5825B94DCD9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427561" y="1426058"/>
            <a:ext cx="2020824" cy="485775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392102" indent="0">
              <a:buNone/>
              <a:defRPr b="1"/>
            </a:lvl2pPr>
            <a:lvl3pPr marL="747712" indent="0">
              <a:buNone/>
              <a:defRPr b="1"/>
            </a:lvl3pPr>
            <a:lvl4pPr marL="1028700" indent="0">
              <a:buNone/>
              <a:defRPr b="1"/>
            </a:lvl4pPr>
            <a:lvl5pPr marL="1296987" indent="0">
              <a:buNone/>
              <a:defRPr b="1"/>
            </a:lvl5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0D6FAA60-3BA8-46AB-8A07-465F7DFFE69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771124" y="1426058"/>
            <a:ext cx="2020824" cy="485775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392102" indent="0">
              <a:buNone/>
              <a:defRPr b="1"/>
            </a:lvl2pPr>
            <a:lvl3pPr marL="747712" indent="0">
              <a:buNone/>
              <a:defRPr b="1"/>
            </a:lvl3pPr>
            <a:lvl4pPr marL="1028700" indent="0">
              <a:buNone/>
              <a:defRPr b="1"/>
            </a:lvl4pPr>
            <a:lvl5pPr marL="1296987" indent="0">
              <a:buNone/>
              <a:defRPr b="1"/>
            </a:lvl5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8F10E92E-9785-4A36-893E-4ADA86F86DD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96875" y="3944972"/>
            <a:ext cx="2020824" cy="485775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392102" indent="0">
              <a:buNone/>
              <a:defRPr b="1"/>
            </a:lvl2pPr>
            <a:lvl3pPr marL="747712" indent="0">
              <a:buNone/>
              <a:defRPr b="1"/>
            </a:lvl3pPr>
            <a:lvl4pPr marL="1028700" indent="0">
              <a:buNone/>
              <a:defRPr b="1"/>
            </a:lvl4pPr>
            <a:lvl5pPr marL="1296987" indent="0">
              <a:buNone/>
              <a:defRPr b="1"/>
            </a:lvl5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1B2B5D63-88A3-4A31-997A-9D99C6F1423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740437" y="3944972"/>
            <a:ext cx="2020824" cy="485775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392102" indent="0">
              <a:buNone/>
              <a:defRPr b="1"/>
            </a:lvl2pPr>
            <a:lvl3pPr marL="747712" indent="0">
              <a:buNone/>
              <a:defRPr b="1"/>
            </a:lvl3pPr>
            <a:lvl4pPr marL="1028700" indent="0">
              <a:buNone/>
              <a:defRPr b="1"/>
            </a:lvl4pPr>
            <a:lvl5pPr marL="1296987" indent="0">
              <a:buNone/>
              <a:defRPr b="1"/>
            </a:lvl5pPr>
          </a:lstStyle>
          <a:p>
            <a:pPr lvl="0"/>
            <a:r>
              <a:rPr lang="en-US"/>
              <a:t>7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520916D1-6201-4878-B9D9-70388A1B604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083999" y="3944972"/>
            <a:ext cx="2020824" cy="485775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392102" indent="0">
              <a:buNone/>
              <a:defRPr b="1"/>
            </a:lvl2pPr>
            <a:lvl3pPr marL="747712" indent="0">
              <a:buNone/>
              <a:defRPr b="1"/>
            </a:lvl3pPr>
            <a:lvl4pPr marL="1028700" indent="0">
              <a:buNone/>
              <a:defRPr b="1"/>
            </a:lvl4pPr>
            <a:lvl5pPr marL="1296987" indent="0">
              <a:buNone/>
              <a:defRPr b="1"/>
            </a:lvl5pPr>
          </a:lstStyle>
          <a:p>
            <a:pPr lvl="0"/>
            <a:r>
              <a:rPr lang="en-US"/>
              <a:t>8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877E6ACE-6BEA-47DB-9E51-4714FE92497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427561" y="3944972"/>
            <a:ext cx="2020824" cy="485775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392102" indent="0">
              <a:buNone/>
              <a:defRPr b="1"/>
            </a:lvl2pPr>
            <a:lvl3pPr marL="747712" indent="0">
              <a:buNone/>
              <a:defRPr b="1"/>
            </a:lvl3pPr>
            <a:lvl4pPr marL="1028700" indent="0">
              <a:buNone/>
              <a:defRPr b="1"/>
            </a:lvl4pPr>
            <a:lvl5pPr marL="1296987" indent="0">
              <a:buNone/>
              <a:defRPr b="1"/>
            </a:lvl5pPr>
          </a:lstStyle>
          <a:p>
            <a:pPr lvl="0"/>
            <a:r>
              <a:rPr lang="en-US"/>
              <a:t>9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CAF6ED24-E99E-49F5-92AE-35BEAF34F1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71124" y="3944972"/>
            <a:ext cx="2020824" cy="485775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392102" indent="0">
              <a:buNone/>
              <a:defRPr b="1"/>
            </a:lvl2pPr>
            <a:lvl3pPr marL="747712" indent="0">
              <a:buNone/>
              <a:defRPr b="1"/>
            </a:lvl3pPr>
            <a:lvl4pPr marL="1028700" indent="0">
              <a:buNone/>
              <a:defRPr b="1"/>
            </a:lvl4pPr>
            <a:lvl5pPr marL="1296987" indent="0">
              <a:buNone/>
              <a:defRPr b="1"/>
            </a:lvl5pPr>
          </a:lstStyle>
          <a:p>
            <a:pPr lvl="0"/>
            <a:r>
              <a:rPr lang="en-US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7311153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_6-member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 userDrawn="1"/>
        </p:nvSpPr>
        <p:spPr>
          <a:xfrm>
            <a:off x="8790681" y="2047480"/>
            <a:ext cx="3029843" cy="1352731"/>
          </a:xfrm>
          <a:prstGeom prst="rect">
            <a:avLst/>
          </a:prstGeom>
          <a:solidFill>
            <a:schemeClr val="accent2"/>
          </a:solidFill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en-US" sz="1798">
              <a:solidFill>
                <a:srgbClr val="FFFFFF"/>
              </a:solidFill>
            </a:endParaRPr>
          </a:p>
        </p:txBody>
      </p:sp>
      <p:sp>
        <p:nvSpPr>
          <p:cNvPr id="35" name="Rectangle 34"/>
          <p:cNvSpPr/>
          <p:nvPr userDrawn="1"/>
        </p:nvSpPr>
        <p:spPr>
          <a:xfrm>
            <a:off x="1070693" y="3698728"/>
            <a:ext cx="3029843" cy="1352731"/>
          </a:xfrm>
          <a:prstGeom prst="rect">
            <a:avLst/>
          </a:prstGeom>
          <a:solidFill>
            <a:schemeClr val="accent2"/>
          </a:solidFill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en-US" sz="1798">
              <a:solidFill>
                <a:srgbClr val="FFFFFF"/>
              </a:solidFill>
            </a:endParaRPr>
          </a:p>
        </p:txBody>
      </p:sp>
      <p:sp>
        <p:nvSpPr>
          <p:cNvPr id="31" name="Rectangle 30"/>
          <p:cNvSpPr/>
          <p:nvPr userDrawn="1"/>
        </p:nvSpPr>
        <p:spPr>
          <a:xfrm>
            <a:off x="1072243" y="2047480"/>
            <a:ext cx="3029843" cy="1352731"/>
          </a:xfrm>
          <a:prstGeom prst="rect">
            <a:avLst/>
          </a:prstGeom>
          <a:solidFill>
            <a:schemeClr val="accent2"/>
          </a:solidFill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en-US" sz="1798">
              <a:solidFill>
                <a:srgbClr val="FFFFFF"/>
              </a:solidFill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4913506" y="2047480"/>
            <a:ext cx="3029843" cy="1352731"/>
          </a:xfrm>
          <a:prstGeom prst="rect">
            <a:avLst/>
          </a:prstGeom>
          <a:solidFill>
            <a:schemeClr val="accent2"/>
          </a:solidFill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en-US" sz="1798">
              <a:solidFill>
                <a:srgbClr val="FFFFFF"/>
              </a:solidFill>
            </a:endParaRPr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388214" y="2047481"/>
            <a:ext cx="1353081" cy="135273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  <a:effectLst/>
        </p:spPr>
        <p:txBody>
          <a:bodyPr tIns="91440"/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4272070" y="2047481"/>
            <a:ext cx="1353081" cy="135273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  <a:effectLst/>
        </p:spPr>
        <p:txBody>
          <a:bodyPr tIns="91440"/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1829802" y="2116080"/>
            <a:ext cx="2253446" cy="371316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9pPr>
          </a:lstStyle>
          <a:p>
            <a:pPr lvl="0"/>
            <a:r>
              <a:t>Click to add name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1829802" y="2592619"/>
            <a:ext cx="2253446" cy="173837"/>
          </a:xfrm>
          <a:prstGeom prst="rect">
            <a:avLst/>
          </a:prstGeom>
        </p:spPr>
        <p:txBody>
          <a:bodyPr lIns="0" t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t>Click to add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5679964" y="2116080"/>
            <a:ext cx="2253446" cy="371316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9pPr>
          </a:lstStyle>
          <a:p>
            <a:pPr lvl="0"/>
            <a:r>
              <a:t>Click to add nam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5679964" y="2592619"/>
            <a:ext cx="2253446" cy="173837"/>
          </a:xfrm>
          <a:prstGeom prst="rect">
            <a:avLst/>
          </a:prstGeom>
        </p:spPr>
        <p:txBody>
          <a:bodyPr lIns="0" t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t>Click to add title</a:t>
            </a:r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23"/>
          </p:nvPr>
        </p:nvSpPr>
        <p:spPr bwMode="gray">
          <a:xfrm>
            <a:off x="388214" y="3698729"/>
            <a:ext cx="1351818" cy="135273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  <a:effectLst/>
        </p:spPr>
        <p:txBody>
          <a:bodyPr tIns="91440"/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1829802" y="3763362"/>
            <a:ext cx="2253446" cy="371316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9pPr>
          </a:lstStyle>
          <a:p>
            <a:pPr lvl="0"/>
            <a:r>
              <a:t>Click to add nam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1829802" y="4250349"/>
            <a:ext cx="2253446" cy="173837"/>
          </a:xfrm>
          <a:prstGeom prst="rect">
            <a:avLst/>
          </a:prstGeom>
        </p:spPr>
        <p:txBody>
          <a:bodyPr lIns="0" t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t>Click to add title</a:t>
            </a:r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32"/>
          </p:nvPr>
        </p:nvSpPr>
        <p:spPr bwMode="gray">
          <a:xfrm>
            <a:off x="8128733" y="2047481"/>
            <a:ext cx="1353081" cy="135273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  <a:effectLst/>
        </p:spPr>
        <p:txBody>
          <a:bodyPr tIns="91440"/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23" name="Text Placeholder 10"/>
          <p:cNvSpPr>
            <a:spLocks noGrp="1"/>
          </p:cNvSpPr>
          <p:nvPr>
            <p:ph type="body" sz="quarter" idx="33" hasCustomPrompt="1"/>
          </p:nvPr>
        </p:nvSpPr>
        <p:spPr>
          <a:xfrm>
            <a:off x="9542782" y="2116080"/>
            <a:ext cx="2253446" cy="371316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9pPr>
          </a:lstStyle>
          <a:p>
            <a:pPr lvl="0"/>
            <a:r>
              <a:t>Click to add nam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34" hasCustomPrompt="1"/>
          </p:nvPr>
        </p:nvSpPr>
        <p:spPr>
          <a:xfrm>
            <a:off x="9542782" y="2599101"/>
            <a:ext cx="2253446" cy="173837"/>
          </a:xfrm>
          <a:prstGeom prst="rect">
            <a:avLst/>
          </a:prstGeom>
        </p:spPr>
        <p:txBody>
          <a:bodyPr lIns="0" t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4913506" y="3698728"/>
            <a:ext cx="3029843" cy="1352731"/>
          </a:xfrm>
          <a:prstGeom prst="rect">
            <a:avLst/>
          </a:prstGeom>
          <a:solidFill>
            <a:schemeClr val="accent2"/>
          </a:solidFill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en-US" sz="1798">
              <a:solidFill>
                <a:srgbClr val="FFFFFF"/>
              </a:solidFill>
            </a:endParaRPr>
          </a:p>
        </p:txBody>
      </p:sp>
      <p:sp>
        <p:nvSpPr>
          <p:cNvPr id="27" name="Picture Placeholder 7"/>
          <p:cNvSpPr>
            <a:spLocks noGrp="1"/>
          </p:cNvSpPr>
          <p:nvPr>
            <p:ph type="pic" sz="quarter" idx="35"/>
          </p:nvPr>
        </p:nvSpPr>
        <p:spPr bwMode="gray">
          <a:xfrm>
            <a:off x="4250707" y="3698729"/>
            <a:ext cx="1351818" cy="135273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  <a:effectLst/>
        </p:spPr>
        <p:txBody>
          <a:bodyPr tIns="91440"/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28" name="Text Placeholder 10"/>
          <p:cNvSpPr>
            <a:spLocks noGrp="1"/>
          </p:cNvSpPr>
          <p:nvPr>
            <p:ph type="body" sz="quarter" idx="36" hasCustomPrompt="1"/>
          </p:nvPr>
        </p:nvSpPr>
        <p:spPr>
          <a:xfrm>
            <a:off x="5664905" y="3763362"/>
            <a:ext cx="2253446" cy="371316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9pPr>
          </a:lstStyle>
          <a:p>
            <a:pPr lvl="0"/>
            <a:r>
              <a:t>Click to add name</a:t>
            </a:r>
          </a:p>
        </p:txBody>
      </p:sp>
      <p:sp>
        <p:nvSpPr>
          <p:cNvPr id="29" name="Text Placeholder 10"/>
          <p:cNvSpPr>
            <a:spLocks noGrp="1"/>
          </p:cNvSpPr>
          <p:nvPr>
            <p:ph type="body" sz="quarter" idx="37" hasCustomPrompt="1"/>
          </p:nvPr>
        </p:nvSpPr>
        <p:spPr>
          <a:xfrm>
            <a:off x="5664905" y="4250349"/>
            <a:ext cx="2253446" cy="173837"/>
          </a:xfrm>
          <a:prstGeom prst="rect">
            <a:avLst/>
          </a:prstGeom>
        </p:spPr>
        <p:txBody>
          <a:bodyPr lIns="0" t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t>Click to add title</a:t>
            </a:r>
          </a:p>
        </p:txBody>
      </p:sp>
      <p:sp>
        <p:nvSpPr>
          <p:cNvPr id="30" name="Rectangle 29"/>
          <p:cNvSpPr/>
          <p:nvPr userDrawn="1"/>
        </p:nvSpPr>
        <p:spPr>
          <a:xfrm>
            <a:off x="8790681" y="3698728"/>
            <a:ext cx="3029843" cy="1352731"/>
          </a:xfrm>
          <a:prstGeom prst="rect">
            <a:avLst/>
          </a:prstGeom>
          <a:solidFill>
            <a:schemeClr val="accent2"/>
          </a:solidFill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en-US" sz="1798">
              <a:solidFill>
                <a:srgbClr val="FFFFFF"/>
              </a:solidFill>
            </a:endParaRPr>
          </a:p>
        </p:txBody>
      </p:sp>
      <p:sp>
        <p:nvSpPr>
          <p:cNvPr id="40" name="Picture Placeholder 7"/>
          <p:cNvSpPr>
            <a:spLocks noGrp="1"/>
          </p:cNvSpPr>
          <p:nvPr>
            <p:ph type="pic" sz="quarter" idx="41"/>
          </p:nvPr>
        </p:nvSpPr>
        <p:spPr bwMode="gray">
          <a:xfrm>
            <a:off x="8128733" y="3698729"/>
            <a:ext cx="1353081" cy="135273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  <a:effectLst/>
        </p:spPr>
        <p:txBody>
          <a:bodyPr tIns="91440"/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1" name="Text Placeholder 10"/>
          <p:cNvSpPr>
            <a:spLocks noGrp="1"/>
          </p:cNvSpPr>
          <p:nvPr>
            <p:ph type="body" sz="quarter" idx="42" hasCustomPrompt="1"/>
          </p:nvPr>
        </p:nvSpPr>
        <p:spPr>
          <a:xfrm>
            <a:off x="9542782" y="3763362"/>
            <a:ext cx="2253446" cy="371316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9pPr>
          </a:lstStyle>
          <a:p>
            <a:pPr lvl="0"/>
            <a:r>
              <a:t>Click to add name</a:t>
            </a:r>
          </a:p>
        </p:txBody>
      </p:sp>
      <p:sp>
        <p:nvSpPr>
          <p:cNvPr id="42" name="Text Placeholder 10"/>
          <p:cNvSpPr>
            <a:spLocks noGrp="1"/>
          </p:cNvSpPr>
          <p:nvPr>
            <p:ph type="body" sz="quarter" idx="43" hasCustomPrompt="1"/>
          </p:nvPr>
        </p:nvSpPr>
        <p:spPr>
          <a:xfrm>
            <a:off x="9542782" y="4250349"/>
            <a:ext cx="2253446" cy="173837"/>
          </a:xfrm>
          <a:prstGeom prst="rect">
            <a:avLst/>
          </a:prstGeom>
        </p:spPr>
        <p:txBody>
          <a:bodyPr lIns="0" t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t>Click to add 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6256262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_8-member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 userDrawn="1"/>
        </p:nvSpPr>
        <p:spPr>
          <a:xfrm>
            <a:off x="8790681" y="1431254"/>
            <a:ext cx="3029843" cy="1352731"/>
          </a:xfrm>
          <a:prstGeom prst="rect">
            <a:avLst/>
          </a:prstGeom>
          <a:solidFill>
            <a:schemeClr val="accent2"/>
          </a:solidFill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en-US" sz="1798">
              <a:solidFill>
                <a:srgbClr val="FFFFFF"/>
              </a:solidFill>
            </a:endParaRPr>
          </a:p>
        </p:txBody>
      </p:sp>
      <p:sp>
        <p:nvSpPr>
          <p:cNvPr id="35" name="Rectangle 34"/>
          <p:cNvSpPr/>
          <p:nvPr userDrawn="1"/>
        </p:nvSpPr>
        <p:spPr>
          <a:xfrm>
            <a:off x="1070693" y="3082502"/>
            <a:ext cx="3029843" cy="1352731"/>
          </a:xfrm>
          <a:prstGeom prst="rect">
            <a:avLst/>
          </a:prstGeom>
          <a:solidFill>
            <a:schemeClr val="accent2"/>
          </a:solidFill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en-US" sz="1798">
              <a:solidFill>
                <a:srgbClr val="FFFFFF"/>
              </a:solidFill>
            </a:endParaRPr>
          </a:p>
        </p:txBody>
      </p:sp>
      <p:sp>
        <p:nvSpPr>
          <p:cNvPr id="31" name="Rectangle 30"/>
          <p:cNvSpPr/>
          <p:nvPr userDrawn="1"/>
        </p:nvSpPr>
        <p:spPr>
          <a:xfrm>
            <a:off x="1070693" y="1431254"/>
            <a:ext cx="3029843" cy="1352731"/>
          </a:xfrm>
          <a:prstGeom prst="rect">
            <a:avLst/>
          </a:prstGeom>
          <a:solidFill>
            <a:schemeClr val="accent2"/>
          </a:solidFill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en-US" sz="1798">
              <a:solidFill>
                <a:srgbClr val="FFFFFF"/>
              </a:solidFill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4913506" y="1431254"/>
            <a:ext cx="3029843" cy="1352731"/>
          </a:xfrm>
          <a:prstGeom prst="rect">
            <a:avLst/>
          </a:prstGeom>
          <a:solidFill>
            <a:schemeClr val="accent2"/>
          </a:solidFill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en-US" sz="1798">
              <a:solidFill>
                <a:srgbClr val="FFFFFF"/>
              </a:solidFill>
            </a:endParaRPr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388214" y="1431255"/>
            <a:ext cx="1353081" cy="135273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  <a:effectLst/>
        </p:spPr>
        <p:txBody>
          <a:bodyPr tIns="91440"/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4272070" y="1431255"/>
            <a:ext cx="1353081" cy="135273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  <a:effectLst/>
        </p:spPr>
        <p:txBody>
          <a:bodyPr tIns="91440"/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1829802" y="1499854"/>
            <a:ext cx="2253446" cy="371316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9pPr>
          </a:lstStyle>
          <a:p>
            <a:pPr lvl="0"/>
            <a:r>
              <a:t>Click to add name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1829802" y="1976393"/>
            <a:ext cx="2253446" cy="173837"/>
          </a:xfrm>
          <a:prstGeom prst="rect">
            <a:avLst/>
          </a:prstGeom>
        </p:spPr>
        <p:txBody>
          <a:bodyPr lIns="0" t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t>Click to add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5679964" y="1499854"/>
            <a:ext cx="2253446" cy="371316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9pPr>
          </a:lstStyle>
          <a:p>
            <a:pPr lvl="0"/>
            <a:r>
              <a:t>Click to add nam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5679964" y="1976393"/>
            <a:ext cx="2253446" cy="173837"/>
          </a:xfrm>
          <a:prstGeom prst="rect">
            <a:avLst/>
          </a:prstGeom>
        </p:spPr>
        <p:txBody>
          <a:bodyPr lIns="0" t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t>Click to add title</a:t>
            </a:r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23"/>
          </p:nvPr>
        </p:nvSpPr>
        <p:spPr bwMode="gray">
          <a:xfrm>
            <a:off x="388214" y="3082503"/>
            <a:ext cx="1351818" cy="135273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  <a:effectLst/>
        </p:spPr>
        <p:txBody>
          <a:bodyPr tIns="91440"/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1829802" y="3147136"/>
            <a:ext cx="2253446" cy="371316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9pPr>
          </a:lstStyle>
          <a:p>
            <a:pPr lvl="0"/>
            <a:r>
              <a:t>Click to add nam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1829802" y="3634123"/>
            <a:ext cx="2253446" cy="173837"/>
          </a:xfrm>
          <a:prstGeom prst="rect">
            <a:avLst/>
          </a:prstGeom>
        </p:spPr>
        <p:txBody>
          <a:bodyPr lIns="0" t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t>Click to add title</a:t>
            </a:r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32"/>
          </p:nvPr>
        </p:nvSpPr>
        <p:spPr bwMode="gray">
          <a:xfrm>
            <a:off x="8128733" y="1431255"/>
            <a:ext cx="1353081" cy="135273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  <a:effectLst/>
        </p:spPr>
        <p:txBody>
          <a:bodyPr tIns="91440"/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23" name="Text Placeholder 10"/>
          <p:cNvSpPr>
            <a:spLocks noGrp="1"/>
          </p:cNvSpPr>
          <p:nvPr>
            <p:ph type="body" sz="quarter" idx="33" hasCustomPrompt="1"/>
          </p:nvPr>
        </p:nvSpPr>
        <p:spPr>
          <a:xfrm>
            <a:off x="9542782" y="1499854"/>
            <a:ext cx="2253446" cy="371316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9pPr>
          </a:lstStyle>
          <a:p>
            <a:pPr lvl="0"/>
            <a:r>
              <a:t>Click to add nam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34" hasCustomPrompt="1"/>
          </p:nvPr>
        </p:nvSpPr>
        <p:spPr>
          <a:xfrm>
            <a:off x="9542782" y="1982875"/>
            <a:ext cx="2253446" cy="173837"/>
          </a:xfrm>
          <a:prstGeom prst="rect">
            <a:avLst/>
          </a:prstGeom>
        </p:spPr>
        <p:txBody>
          <a:bodyPr lIns="0" t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4913506" y="3082502"/>
            <a:ext cx="3029843" cy="1352731"/>
          </a:xfrm>
          <a:prstGeom prst="rect">
            <a:avLst/>
          </a:prstGeom>
          <a:solidFill>
            <a:schemeClr val="accent2"/>
          </a:solidFill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en-US" sz="1798">
              <a:solidFill>
                <a:srgbClr val="FFFFFF"/>
              </a:solidFill>
            </a:endParaRPr>
          </a:p>
        </p:txBody>
      </p:sp>
      <p:sp>
        <p:nvSpPr>
          <p:cNvPr id="27" name="Picture Placeholder 7"/>
          <p:cNvSpPr>
            <a:spLocks noGrp="1"/>
          </p:cNvSpPr>
          <p:nvPr>
            <p:ph type="pic" sz="quarter" idx="35"/>
          </p:nvPr>
        </p:nvSpPr>
        <p:spPr bwMode="gray">
          <a:xfrm>
            <a:off x="4250707" y="3082503"/>
            <a:ext cx="1351818" cy="135273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  <a:effectLst/>
        </p:spPr>
        <p:txBody>
          <a:bodyPr tIns="91440"/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28" name="Text Placeholder 10"/>
          <p:cNvSpPr>
            <a:spLocks noGrp="1"/>
          </p:cNvSpPr>
          <p:nvPr>
            <p:ph type="body" sz="quarter" idx="36" hasCustomPrompt="1"/>
          </p:nvPr>
        </p:nvSpPr>
        <p:spPr>
          <a:xfrm>
            <a:off x="5664905" y="3147136"/>
            <a:ext cx="2253446" cy="371316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9pPr>
          </a:lstStyle>
          <a:p>
            <a:pPr lvl="0"/>
            <a:r>
              <a:t>Click to add name</a:t>
            </a:r>
          </a:p>
        </p:txBody>
      </p:sp>
      <p:sp>
        <p:nvSpPr>
          <p:cNvPr id="29" name="Text Placeholder 10"/>
          <p:cNvSpPr>
            <a:spLocks noGrp="1"/>
          </p:cNvSpPr>
          <p:nvPr>
            <p:ph type="body" sz="quarter" idx="37" hasCustomPrompt="1"/>
          </p:nvPr>
        </p:nvSpPr>
        <p:spPr>
          <a:xfrm>
            <a:off x="5664905" y="3634123"/>
            <a:ext cx="2253446" cy="173837"/>
          </a:xfrm>
          <a:prstGeom prst="rect">
            <a:avLst/>
          </a:prstGeom>
        </p:spPr>
        <p:txBody>
          <a:bodyPr lIns="0" t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t>Click to add title</a:t>
            </a:r>
          </a:p>
        </p:txBody>
      </p:sp>
      <p:sp>
        <p:nvSpPr>
          <p:cNvPr id="30" name="Rectangle 29"/>
          <p:cNvSpPr/>
          <p:nvPr userDrawn="1"/>
        </p:nvSpPr>
        <p:spPr>
          <a:xfrm>
            <a:off x="8790681" y="3082502"/>
            <a:ext cx="3029843" cy="1352731"/>
          </a:xfrm>
          <a:prstGeom prst="rect">
            <a:avLst/>
          </a:prstGeom>
          <a:solidFill>
            <a:schemeClr val="accent2"/>
          </a:solidFill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en-US" sz="1798">
              <a:solidFill>
                <a:srgbClr val="FFFFFF"/>
              </a:solidFill>
            </a:endParaRPr>
          </a:p>
        </p:txBody>
      </p:sp>
      <p:sp>
        <p:nvSpPr>
          <p:cNvPr id="40" name="Picture Placeholder 7"/>
          <p:cNvSpPr>
            <a:spLocks noGrp="1"/>
          </p:cNvSpPr>
          <p:nvPr>
            <p:ph type="pic" sz="quarter" idx="41"/>
          </p:nvPr>
        </p:nvSpPr>
        <p:spPr bwMode="gray">
          <a:xfrm>
            <a:off x="8128733" y="3082503"/>
            <a:ext cx="1353081" cy="135273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  <a:effectLst/>
        </p:spPr>
        <p:txBody>
          <a:bodyPr tIns="91440"/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1" name="Text Placeholder 10"/>
          <p:cNvSpPr>
            <a:spLocks noGrp="1"/>
          </p:cNvSpPr>
          <p:nvPr>
            <p:ph type="body" sz="quarter" idx="42" hasCustomPrompt="1"/>
          </p:nvPr>
        </p:nvSpPr>
        <p:spPr>
          <a:xfrm>
            <a:off x="9542782" y="3147136"/>
            <a:ext cx="2253446" cy="371316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9pPr>
          </a:lstStyle>
          <a:p>
            <a:pPr lvl="0"/>
            <a:r>
              <a:t>Click to add name</a:t>
            </a:r>
          </a:p>
        </p:txBody>
      </p:sp>
      <p:sp>
        <p:nvSpPr>
          <p:cNvPr id="42" name="Text Placeholder 10"/>
          <p:cNvSpPr>
            <a:spLocks noGrp="1"/>
          </p:cNvSpPr>
          <p:nvPr>
            <p:ph type="body" sz="quarter" idx="43" hasCustomPrompt="1"/>
          </p:nvPr>
        </p:nvSpPr>
        <p:spPr>
          <a:xfrm>
            <a:off x="9542782" y="3634123"/>
            <a:ext cx="2253446" cy="173837"/>
          </a:xfrm>
          <a:prstGeom prst="rect">
            <a:avLst/>
          </a:prstGeom>
        </p:spPr>
        <p:txBody>
          <a:bodyPr lIns="0" t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t>Click to add 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D991576-EC0F-5C6A-09D4-CDAAE8F1CF04}"/>
              </a:ext>
            </a:extLst>
          </p:cNvPr>
          <p:cNvSpPr/>
          <p:nvPr userDrawn="1"/>
        </p:nvSpPr>
        <p:spPr>
          <a:xfrm>
            <a:off x="2998885" y="4762215"/>
            <a:ext cx="3029843" cy="1352731"/>
          </a:xfrm>
          <a:prstGeom prst="rect">
            <a:avLst/>
          </a:prstGeom>
          <a:solidFill>
            <a:schemeClr val="accent2"/>
          </a:solidFill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en-US" sz="1798">
              <a:solidFill>
                <a:srgbClr val="FFFFFF"/>
              </a:solidFill>
            </a:endParaRPr>
          </a:p>
        </p:txBody>
      </p:sp>
      <p:sp>
        <p:nvSpPr>
          <p:cNvPr id="5" name="Picture Placeholder 7">
            <a:extLst>
              <a:ext uri="{FF2B5EF4-FFF2-40B4-BE49-F238E27FC236}">
                <a16:creationId xmlns:a16="http://schemas.microsoft.com/office/drawing/2014/main" id="{05061709-2995-9C23-994F-6096BA6732DB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 bwMode="gray">
          <a:xfrm>
            <a:off x="2316406" y="4762216"/>
            <a:ext cx="1353081" cy="135273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  <a:effectLst/>
        </p:spPr>
        <p:txBody>
          <a:bodyPr tIns="91440"/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E47E92EC-4909-E2AA-FDBF-CC0D47D2A11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758209" y="4826849"/>
            <a:ext cx="2253446" cy="371316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9pPr>
          </a:lstStyle>
          <a:p>
            <a:pPr lvl="0"/>
            <a:r>
              <a:t>Click to add name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0A04066-DF8E-954A-E60F-19669C9C5C0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758209" y="5313836"/>
            <a:ext cx="2253446" cy="173837"/>
          </a:xfrm>
          <a:prstGeom prst="rect">
            <a:avLst/>
          </a:prstGeom>
        </p:spPr>
        <p:txBody>
          <a:bodyPr lIns="0" t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t>Click to add tit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FB15BE7-AC58-DF37-0A09-B182A1B05F89}"/>
              </a:ext>
            </a:extLst>
          </p:cNvPr>
          <p:cNvSpPr/>
          <p:nvPr userDrawn="1"/>
        </p:nvSpPr>
        <p:spPr>
          <a:xfrm>
            <a:off x="6831759" y="4762215"/>
            <a:ext cx="3029843" cy="1352731"/>
          </a:xfrm>
          <a:prstGeom prst="rect">
            <a:avLst/>
          </a:prstGeom>
          <a:solidFill>
            <a:schemeClr val="accent2"/>
          </a:solidFill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en-US" sz="1798">
              <a:solidFill>
                <a:srgbClr val="FFFFFF"/>
              </a:solidFill>
            </a:endParaRP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4F05FC3E-ECE7-5438-30BE-8D9187E2E81F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 bwMode="gray">
          <a:xfrm>
            <a:off x="6142057" y="4762216"/>
            <a:ext cx="1353081" cy="135273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  <a:effectLst/>
        </p:spPr>
        <p:txBody>
          <a:bodyPr tIns="91440"/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5CFD15A3-238D-C461-CFE7-29F71E71A37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583860" y="4826849"/>
            <a:ext cx="2253446" cy="371316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9pPr>
          </a:lstStyle>
          <a:p>
            <a:pPr lvl="0"/>
            <a:r>
              <a:t>Click to add name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0AD5B760-FAB8-9FEC-274B-66688D68A63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583860" y="5313836"/>
            <a:ext cx="2253446" cy="173837"/>
          </a:xfrm>
          <a:prstGeom prst="rect">
            <a:avLst/>
          </a:prstGeom>
        </p:spPr>
        <p:txBody>
          <a:bodyPr lIns="0" t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1608028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_9-member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 userDrawn="1"/>
        </p:nvSpPr>
        <p:spPr>
          <a:xfrm>
            <a:off x="8790681" y="1431254"/>
            <a:ext cx="3029843" cy="1352731"/>
          </a:xfrm>
          <a:prstGeom prst="rect">
            <a:avLst/>
          </a:prstGeom>
          <a:solidFill>
            <a:schemeClr val="accent2"/>
          </a:solidFill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en-US" sz="1798">
              <a:solidFill>
                <a:srgbClr val="FFFFFF"/>
              </a:solidFill>
            </a:endParaRPr>
          </a:p>
        </p:txBody>
      </p:sp>
      <p:sp>
        <p:nvSpPr>
          <p:cNvPr id="35" name="Rectangle 34"/>
          <p:cNvSpPr/>
          <p:nvPr userDrawn="1"/>
        </p:nvSpPr>
        <p:spPr>
          <a:xfrm>
            <a:off x="1070693" y="3082502"/>
            <a:ext cx="3029843" cy="1352731"/>
          </a:xfrm>
          <a:prstGeom prst="rect">
            <a:avLst/>
          </a:prstGeom>
          <a:solidFill>
            <a:schemeClr val="accent2"/>
          </a:solidFill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en-US" sz="1798">
              <a:solidFill>
                <a:srgbClr val="FFFFFF"/>
              </a:solidFill>
            </a:endParaRPr>
          </a:p>
        </p:txBody>
      </p:sp>
      <p:sp>
        <p:nvSpPr>
          <p:cNvPr id="31" name="Rectangle 30"/>
          <p:cNvSpPr/>
          <p:nvPr userDrawn="1"/>
        </p:nvSpPr>
        <p:spPr>
          <a:xfrm>
            <a:off x="1070693" y="1431254"/>
            <a:ext cx="3029843" cy="1352731"/>
          </a:xfrm>
          <a:prstGeom prst="rect">
            <a:avLst/>
          </a:prstGeom>
          <a:solidFill>
            <a:schemeClr val="accent2"/>
          </a:solidFill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en-US" sz="1798">
              <a:solidFill>
                <a:srgbClr val="FFFFFF"/>
              </a:solidFill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4913506" y="1431254"/>
            <a:ext cx="3029843" cy="1352731"/>
          </a:xfrm>
          <a:prstGeom prst="rect">
            <a:avLst/>
          </a:prstGeom>
          <a:solidFill>
            <a:schemeClr val="accent2"/>
          </a:solidFill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en-US" sz="1798">
              <a:solidFill>
                <a:srgbClr val="FFFFFF"/>
              </a:solidFill>
            </a:endParaRPr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388214" y="1431255"/>
            <a:ext cx="1353081" cy="135273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  <a:effectLst/>
        </p:spPr>
        <p:txBody>
          <a:bodyPr tIns="91440"/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4272070" y="1431255"/>
            <a:ext cx="1353081" cy="135273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  <a:effectLst/>
        </p:spPr>
        <p:txBody>
          <a:bodyPr tIns="91440"/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1829802" y="1499854"/>
            <a:ext cx="2253446" cy="371316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9pPr>
          </a:lstStyle>
          <a:p>
            <a:pPr lvl="0"/>
            <a:r>
              <a:t>Click to add name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1829802" y="1976393"/>
            <a:ext cx="2253446" cy="173837"/>
          </a:xfrm>
          <a:prstGeom prst="rect">
            <a:avLst/>
          </a:prstGeom>
        </p:spPr>
        <p:txBody>
          <a:bodyPr lIns="0" t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t>Click to add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5679964" y="1499854"/>
            <a:ext cx="2253446" cy="371316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9pPr>
          </a:lstStyle>
          <a:p>
            <a:pPr lvl="0"/>
            <a:r>
              <a:t>Click to add nam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5679964" y="1976393"/>
            <a:ext cx="2253446" cy="173837"/>
          </a:xfrm>
          <a:prstGeom prst="rect">
            <a:avLst/>
          </a:prstGeom>
        </p:spPr>
        <p:txBody>
          <a:bodyPr lIns="0" t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t>Click to add title</a:t>
            </a:r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23"/>
          </p:nvPr>
        </p:nvSpPr>
        <p:spPr bwMode="gray">
          <a:xfrm>
            <a:off x="388214" y="3082503"/>
            <a:ext cx="1351818" cy="135273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  <a:effectLst/>
        </p:spPr>
        <p:txBody>
          <a:bodyPr tIns="91440"/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1829802" y="3147136"/>
            <a:ext cx="2253446" cy="371316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9pPr>
          </a:lstStyle>
          <a:p>
            <a:pPr lvl="0"/>
            <a:r>
              <a:t>Click to add nam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1829802" y="3634123"/>
            <a:ext cx="2253446" cy="173837"/>
          </a:xfrm>
          <a:prstGeom prst="rect">
            <a:avLst/>
          </a:prstGeom>
        </p:spPr>
        <p:txBody>
          <a:bodyPr lIns="0" t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t>Click to add title</a:t>
            </a:r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32"/>
          </p:nvPr>
        </p:nvSpPr>
        <p:spPr bwMode="gray">
          <a:xfrm>
            <a:off x="8128733" y="1431255"/>
            <a:ext cx="1353081" cy="135273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  <a:effectLst/>
        </p:spPr>
        <p:txBody>
          <a:bodyPr tIns="91440"/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23" name="Text Placeholder 10"/>
          <p:cNvSpPr>
            <a:spLocks noGrp="1"/>
          </p:cNvSpPr>
          <p:nvPr>
            <p:ph type="body" sz="quarter" idx="33" hasCustomPrompt="1"/>
          </p:nvPr>
        </p:nvSpPr>
        <p:spPr>
          <a:xfrm>
            <a:off x="9542782" y="1499854"/>
            <a:ext cx="2253446" cy="371316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9pPr>
          </a:lstStyle>
          <a:p>
            <a:pPr lvl="0"/>
            <a:r>
              <a:t>Click to add nam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34" hasCustomPrompt="1"/>
          </p:nvPr>
        </p:nvSpPr>
        <p:spPr>
          <a:xfrm>
            <a:off x="9542782" y="1982875"/>
            <a:ext cx="2253446" cy="173837"/>
          </a:xfrm>
          <a:prstGeom prst="rect">
            <a:avLst/>
          </a:prstGeom>
        </p:spPr>
        <p:txBody>
          <a:bodyPr lIns="0" t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4913506" y="3082502"/>
            <a:ext cx="3029843" cy="1352731"/>
          </a:xfrm>
          <a:prstGeom prst="rect">
            <a:avLst/>
          </a:prstGeom>
          <a:solidFill>
            <a:schemeClr val="accent2"/>
          </a:solidFill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en-US" sz="1798">
              <a:solidFill>
                <a:srgbClr val="FFFFFF"/>
              </a:solidFill>
            </a:endParaRPr>
          </a:p>
        </p:txBody>
      </p:sp>
      <p:sp>
        <p:nvSpPr>
          <p:cNvPr id="27" name="Picture Placeholder 7"/>
          <p:cNvSpPr>
            <a:spLocks noGrp="1"/>
          </p:cNvSpPr>
          <p:nvPr>
            <p:ph type="pic" sz="quarter" idx="35"/>
          </p:nvPr>
        </p:nvSpPr>
        <p:spPr bwMode="gray">
          <a:xfrm>
            <a:off x="4250707" y="3082503"/>
            <a:ext cx="1351818" cy="135273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  <a:effectLst/>
        </p:spPr>
        <p:txBody>
          <a:bodyPr tIns="91440"/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28" name="Text Placeholder 10"/>
          <p:cNvSpPr>
            <a:spLocks noGrp="1"/>
          </p:cNvSpPr>
          <p:nvPr>
            <p:ph type="body" sz="quarter" idx="36" hasCustomPrompt="1"/>
          </p:nvPr>
        </p:nvSpPr>
        <p:spPr>
          <a:xfrm>
            <a:off x="5664905" y="3147136"/>
            <a:ext cx="2253446" cy="371316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9pPr>
          </a:lstStyle>
          <a:p>
            <a:pPr lvl="0"/>
            <a:r>
              <a:t>Click to add name</a:t>
            </a:r>
          </a:p>
        </p:txBody>
      </p:sp>
      <p:sp>
        <p:nvSpPr>
          <p:cNvPr id="29" name="Text Placeholder 10"/>
          <p:cNvSpPr>
            <a:spLocks noGrp="1"/>
          </p:cNvSpPr>
          <p:nvPr>
            <p:ph type="body" sz="quarter" idx="37" hasCustomPrompt="1"/>
          </p:nvPr>
        </p:nvSpPr>
        <p:spPr>
          <a:xfrm>
            <a:off x="5664905" y="3634123"/>
            <a:ext cx="2253446" cy="173837"/>
          </a:xfrm>
          <a:prstGeom prst="rect">
            <a:avLst/>
          </a:prstGeom>
        </p:spPr>
        <p:txBody>
          <a:bodyPr lIns="0" t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t>Click to add title</a:t>
            </a:r>
          </a:p>
        </p:txBody>
      </p:sp>
      <p:sp>
        <p:nvSpPr>
          <p:cNvPr id="30" name="Rectangle 29"/>
          <p:cNvSpPr/>
          <p:nvPr userDrawn="1"/>
        </p:nvSpPr>
        <p:spPr>
          <a:xfrm>
            <a:off x="8790681" y="3082502"/>
            <a:ext cx="3029843" cy="1352731"/>
          </a:xfrm>
          <a:prstGeom prst="rect">
            <a:avLst/>
          </a:prstGeom>
          <a:solidFill>
            <a:schemeClr val="accent2"/>
          </a:solidFill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en-US" sz="1798">
              <a:solidFill>
                <a:srgbClr val="FFFFFF"/>
              </a:solidFill>
            </a:endParaRPr>
          </a:p>
        </p:txBody>
      </p:sp>
      <p:sp>
        <p:nvSpPr>
          <p:cNvPr id="40" name="Picture Placeholder 7"/>
          <p:cNvSpPr>
            <a:spLocks noGrp="1"/>
          </p:cNvSpPr>
          <p:nvPr>
            <p:ph type="pic" sz="quarter" idx="41"/>
          </p:nvPr>
        </p:nvSpPr>
        <p:spPr bwMode="gray">
          <a:xfrm>
            <a:off x="8128733" y="3082503"/>
            <a:ext cx="1353081" cy="135273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  <a:effectLst/>
        </p:spPr>
        <p:txBody>
          <a:bodyPr tIns="91440"/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1" name="Text Placeholder 10"/>
          <p:cNvSpPr>
            <a:spLocks noGrp="1"/>
          </p:cNvSpPr>
          <p:nvPr>
            <p:ph type="body" sz="quarter" idx="42" hasCustomPrompt="1"/>
          </p:nvPr>
        </p:nvSpPr>
        <p:spPr>
          <a:xfrm>
            <a:off x="9542782" y="3147136"/>
            <a:ext cx="2253446" cy="371316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9pPr>
          </a:lstStyle>
          <a:p>
            <a:pPr lvl="0"/>
            <a:r>
              <a:t>Click to add name</a:t>
            </a:r>
          </a:p>
        </p:txBody>
      </p:sp>
      <p:sp>
        <p:nvSpPr>
          <p:cNvPr id="42" name="Text Placeholder 10"/>
          <p:cNvSpPr>
            <a:spLocks noGrp="1"/>
          </p:cNvSpPr>
          <p:nvPr>
            <p:ph type="body" sz="quarter" idx="43" hasCustomPrompt="1"/>
          </p:nvPr>
        </p:nvSpPr>
        <p:spPr>
          <a:xfrm>
            <a:off x="9542782" y="3634123"/>
            <a:ext cx="2253446" cy="173837"/>
          </a:xfrm>
          <a:prstGeom prst="rect">
            <a:avLst/>
          </a:prstGeom>
        </p:spPr>
        <p:txBody>
          <a:bodyPr lIns="0" t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t>Click to add 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D991576-EC0F-5C6A-09D4-CDAAE8F1CF04}"/>
              </a:ext>
            </a:extLst>
          </p:cNvPr>
          <p:cNvSpPr/>
          <p:nvPr userDrawn="1"/>
        </p:nvSpPr>
        <p:spPr>
          <a:xfrm>
            <a:off x="1070693" y="4762215"/>
            <a:ext cx="3029843" cy="1352731"/>
          </a:xfrm>
          <a:prstGeom prst="rect">
            <a:avLst/>
          </a:prstGeom>
          <a:solidFill>
            <a:schemeClr val="accent2"/>
          </a:solidFill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en-US" sz="1798">
              <a:solidFill>
                <a:srgbClr val="FFFFFF"/>
              </a:solidFill>
            </a:endParaRPr>
          </a:p>
        </p:txBody>
      </p:sp>
      <p:sp>
        <p:nvSpPr>
          <p:cNvPr id="5" name="Picture Placeholder 7">
            <a:extLst>
              <a:ext uri="{FF2B5EF4-FFF2-40B4-BE49-F238E27FC236}">
                <a16:creationId xmlns:a16="http://schemas.microsoft.com/office/drawing/2014/main" id="{05061709-2995-9C23-994F-6096BA6732DB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 bwMode="gray">
          <a:xfrm>
            <a:off x="388214" y="4762216"/>
            <a:ext cx="1353081" cy="135273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  <a:effectLst/>
        </p:spPr>
        <p:txBody>
          <a:bodyPr tIns="91440"/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E47E92EC-4909-E2AA-FDBF-CC0D47D2A11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830017" y="4826849"/>
            <a:ext cx="2253446" cy="371316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9pPr>
          </a:lstStyle>
          <a:p>
            <a:pPr lvl="0"/>
            <a:r>
              <a:t>Click to add name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0A04066-DF8E-954A-E60F-19669C9C5C0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830017" y="5313836"/>
            <a:ext cx="2253446" cy="173837"/>
          </a:xfrm>
          <a:prstGeom prst="rect">
            <a:avLst/>
          </a:prstGeom>
        </p:spPr>
        <p:txBody>
          <a:bodyPr lIns="0" t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t>Click to add tit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FB15BE7-AC58-DF37-0A09-B182A1B05F89}"/>
              </a:ext>
            </a:extLst>
          </p:cNvPr>
          <p:cNvSpPr/>
          <p:nvPr userDrawn="1"/>
        </p:nvSpPr>
        <p:spPr>
          <a:xfrm>
            <a:off x="4903567" y="4762215"/>
            <a:ext cx="3029843" cy="1352731"/>
          </a:xfrm>
          <a:prstGeom prst="rect">
            <a:avLst/>
          </a:prstGeom>
          <a:solidFill>
            <a:schemeClr val="accent2"/>
          </a:solidFill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en-US" sz="1798">
              <a:solidFill>
                <a:srgbClr val="FFFFFF"/>
              </a:solidFill>
            </a:endParaRP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4F05FC3E-ECE7-5438-30BE-8D9187E2E81F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 bwMode="gray">
          <a:xfrm>
            <a:off x="4213865" y="4762216"/>
            <a:ext cx="1353081" cy="135273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  <a:effectLst/>
        </p:spPr>
        <p:txBody>
          <a:bodyPr tIns="91440"/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5CFD15A3-238D-C461-CFE7-29F71E71A37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655668" y="4826849"/>
            <a:ext cx="2253446" cy="371316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9pPr>
          </a:lstStyle>
          <a:p>
            <a:pPr lvl="0"/>
            <a:r>
              <a:t>Click to add name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0AD5B760-FAB8-9FEC-274B-66688D68A63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655668" y="5313836"/>
            <a:ext cx="2253446" cy="173837"/>
          </a:xfrm>
          <a:prstGeom prst="rect">
            <a:avLst/>
          </a:prstGeom>
        </p:spPr>
        <p:txBody>
          <a:bodyPr lIns="0" t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t>Click to add tit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EFFF136-D105-7A54-4B84-891F0EE44462}"/>
              </a:ext>
            </a:extLst>
          </p:cNvPr>
          <p:cNvSpPr/>
          <p:nvPr userDrawn="1"/>
        </p:nvSpPr>
        <p:spPr>
          <a:xfrm>
            <a:off x="8773943" y="4762215"/>
            <a:ext cx="3029843" cy="1352731"/>
          </a:xfrm>
          <a:prstGeom prst="rect">
            <a:avLst/>
          </a:prstGeom>
          <a:solidFill>
            <a:schemeClr val="accent2"/>
          </a:solidFill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en-US" sz="1798">
              <a:solidFill>
                <a:srgbClr val="FFFFFF"/>
              </a:solidFill>
            </a:endParaRPr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AA109C0C-449B-7255-237E-77FD4B3C18B0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 bwMode="gray">
          <a:xfrm>
            <a:off x="8084241" y="4762216"/>
            <a:ext cx="1353081" cy="135273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  <a:effectLst/>
        </p:spPr>
        <p:txBody>
          <a:bodyPr tIns="91440"/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6F2D387A-6CC8-99C1-75A9-8A2D52D513FC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526044" y="4826849"/>
            <a:ext cx="2253446" cy="371316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9pPr>
          </a:lstStyle>
          <a:p>
            <a:pPr lvl="0"/>
            <a:r>
              <a:t>Click to add name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19C024B-D176-CEC2-7DC3-474D87E72AE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526044" y="5313836"/>
            <a:ext cx="2253446" cy="173837"/>
          </a:xfrm>
          <a:prstGeom prst="rect">
            <a:avLst/>
          </a:prstGeom>
        </p:spPr>
        <p:txBody>
          <a:bodyPr lIns="0" t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8317491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_Title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332399"/>
          </a:xfrm>
        </p:spPr>
        <p:txBody>
          <a:bodyPr vert="horz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9E5DDFBC-BBD8-FCF3-FDD5-BDAF7615B1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475" y="772205"/>
            <a:ext cx="11449050" cy="28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404309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_Title Subtitle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332399"/>
          </a:xfrm>
        </p:spPr>
        <p:txBody>
          <a:bodyPr vert="horz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4" y="1412875"/>
            <a:ext cx="11449049" cy="48244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9E5DDFBC-BBD8-FCF3-FDD5-BDAF7615B1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475" y="728663"/>
            <a:ext cx="11449050" cy="28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4629150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_Title and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26BC249-E151-BB39-D3D5-813D011EC4DE}"/>
              </a:ext>
            </a:extLst>
          </p:cNvPr>
          <p:cNvSpPr>
            <a:spLocks noGrp="1"/>
          </p:cNvSpPr>
          <p:nvPr>
            <p:ph idx="24" hasCustomPrompt="1"/>
          </p:nvPr>
        </p:nvSpPr>
        <p:spPr bwMode="gray">
          <a:xfrm>
            <a:off x="4267200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AB7751F-4652-AD3B-A81E-E9DD7E8ECF31}"/>
              </a:ext>
            </a:extLst>
          </p:cNvPr>
          <p:cNvSpPr>
            <a:spLocks noGrp="1"/>
          </p:cNvSpPr>
          <p:nvPr>
            <p:ph idx="25" hasCustomPrompt="1"/>
          </p:nvPr>
        </p:nvSpPr>
        <p:spPr bwMode="gray">
          <a:xfrm>
            <a:off x="816292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7386002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_Blank_Light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1910257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5B75E9E6-B0EB-6C9D-299A-94D1539110F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92500" y="1319213"/>
            <a:ext cx="4027488" cy="1414462"/>
          </a:xfrm>
        </p:spPr>
        <p:txBody>
          <a:bodyPr/>
          <a:lstStyle>
            <a:lvl1pPr>
              <a:spcBef>
                <a:spcPts val="400"/>
              </a:spcBef>
              <a:spcAft>
                <a:spcPts val="0"/>
              </a:spcAft>
              <a:defRPr sz="1100"/>
            </a:lvl1pPr>
            <a:lvl2pPr marL="114300" indent="-114300">
              <a:spcBef>
                <a:spcPts val="0"/>
              </a:spcBef>
              <a:spcAft>
                <a:spcPts val="0"/>
              </a:spcAft>
              <a:defRPr sz="10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0" name="Title 39">
            <a:extLst>
              <a:ext uri="{FF2B5EF4-FFF2-40B4-BE49-F238E27FC236}">
                <a16:creationId xmlns:a16="http://schemas.microsoft.com/office/drawing/2014/main" id="{13CC1B4C-56E5-FE03-E199-321E3DAEDE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6053" y="628038"/>
            <a:ext cx="8324471" cy="33472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49584FFD-193F-1497-5306-F2DFEDB4FAD6}"/>
              </a:ext>
            </a:extLst>
          </p:cNvPr>
          <p:cNvSpPr txBox="1">
            <a:spLocks/>
          </p:cNvSpPr>
          <p:nvPr userDrawn="1"/>
        </p:nvSpPr>
        <p:spPr>
          <a:xfrm>
            <a:off x="3496053" y="3115198"/>
            <a:ext cx="2340000" cy="1661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com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5B24547-4318-7626-398A-E6C55A636887}"/>
              </a:ext>
            </a:extLst>
          </p:cNvPr>
          <p:cNvCxnSpPr>
            <a:cxnSpLocks/>
          </p:cNvCxnSpPr>
          <p:nvPr userDrawn="1"/>
        </p:nvCxnSpPr>
        <p:spPr>
          <a:xfrm>
            <a:off x="3471219" y="3023395"/>
            <a:ext cx="8336468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4C3A803E-9637-CCD1-4643-26E88E6545FD}"/>
              </a:ext>
            </a:extLst>
          </p:cNvPr>
          <p:cNvSpPr txBox="1">
            <a:spLocks/>
          </p:cNvSpPr>
          <p:nvPr userDrawn="1"/>
        </p:nvSpPr>
        <p:spPr>
          <a:xfrm>
            <a:off x="3496053" y="1101536"/>
            <a:ext cx="2340000" cy="1661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need</a:t>
            </a: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BEC0D07-A38B-81AB-0DF2-698A3AEAAAB7}"/>
              </a:ext>
            </a:extLst>
          </p:cNvPr>
          <p:cNvSpPr txBox="1">
            <a:spLocks/>
          </p:cNvSpPr>
          <p:nvPr userDrawn="1"/>
        </p:nvSpPr>
        <p:spPr>
          <a:xfrm>
            <a:off x="7793096" y="1101536"/>
            <a:ext cx="2340000" cy="1661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ution</a:t>
            </a:r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448C1B0D-C28E-75AF-0BCA-A7D7B213DBC1}"/>
              </a:ext>
            </a:extLst>
          </p:cNvPr>
          <p:cNvSpPr txBox="1">
            <a:spLocks/>
          </p:cNvSpPr>
          <p:nvPr userDrawn="1"/>
        </p:nvSpPr>
        <p:spPr>
          <a:xfrm>
            <a:off x="3496054" y="328613"/>
            <a:ext cx="2340000" cy="203133"/>
          </a:xfrm>
          <a:prstGeom prst="rect">
            <a:avLst/>
          </a:prstGeom>
        </p:spPr>
        <p:txBody>
          <a:bodyPr lIns="0" anchor="ctr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b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e study  |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8CE9595C-6D89-83D5-2A96-7BDEAADC00A4}"/>
              </a:ext>
            </a:extLst>
          </p:cNvPr>
          <p:cNvCxnSpPr>
            <a:cxnSpLocks/>
          </p:cNvCxnSpPr>
          <p:nvPr userDrawn="1"/>
        </p:nvCxnSpPr>
        <p:spPr>
          <a:xfrm>
            <a:off x="3513252" y="1032688"/>
            <a:ext cx="830327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Picture 38" descr="Logo&#10;&#10;Description automatically generated">
            <a:extLst>
              <a:ext uri="{FF2B5EF4-FFF2-40B4-BE49-F238E27FC236}">
                <a16:creationId xmlns:a16="http://schemas.microsoft.com/office/drawing/2014/main" id="{F0E8F156-B4BF-E50B-2332-8D25F148DF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9607" y="5569227"/>
            <a:ext cx="1649142" cy="679508"/>
          </a:xfrm>
          <a:prstGeom prst="rect">
            <a:avLst/>
          </a:prstGeom>
        </p:spPr>
      </p:pic>
      <p:sp>
        <p:nvSpPr>
          <p:cNvPr id="46" name="Text Placeholder 44">
            <a:extLst>
              <a:ext uri="{FF2B5EF4-FFF2-40B4-BE49-F238E27FC236}">
                <a16:creationId xmlns:a16="http://schemas.microsoft.com/office/drawing/2014/main" id="{B041995D-DB80-D9AC-04C1-6575F77C9F2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793096" y="1319213"/>
            <a:ext cx="4027488" cy="1414462"/>
          </a:xfrm>
        </p:spPr>
        <p:txBody>
          <a:bodyPr/>
          <a:lstStyle>
            <a:lvl1pPr>
              <a:spcBef>
                <a:spcPts val="400"/>
              </a:spcBef>
              <a:spcAft>
                <a:spcPts val="0"/>
              </a:spcAft>
              <a:defRPr sz="1100"/>
            </a:lvl1pPr>
            <a:lvl2pPr marL="114300" indent="-114300">
              <a:spcBef>
                <a:spcPts val="0"/>
              </a:spcBef>
              <a:spcAft>
                <a:spcPts val="0"/>
              </a:spcAft>
              <a:defRPr sz="10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8" name="Text Placeholder 44">
            <a:extLst>
              <a:ext uri="{FF2B5EF4-FFF2-40B4-BE49-F238E27FC236}">
                <a16:creationId xmlns:a16="http://schemas.microsoft.com/office/drawing/2014/main" id="{76B77B0D-59CC-AC4F-4894-3CE22B3298C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92500" y="3355630"/>
            <a:ext cx="8328084" cy="1414462"/>
          </a:xfrm>
        </p:spPr>
        <p:txBody>
          <a:bodyPr numCol="3" spcCol="91440"/>
          <a:lstStyle>
            <a:lvl1pPr marL="171450" indent="-171450"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ct val="200000"/>
              <a:buFont typeface="Webdings" panose="05030102010509060703" pitchFamily="18" charset="2"/>
              <a:buChar char=""/>
              <a:defRPr sz="1100"/>
            </a:lvl1pPr>
            <a:lvl2pPr marL="512763" indent="-114300">
              <a:spcBef>
                <a:spcPts val="0"/>
              </a:spcBef>
              <a:spcAft>
                <a:spcPts val="0"/>
              </a:spcAft>
              <a:defRPr sz="10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895F2294-29E4-D151-5EBB-71B2E3944212}"/>
              </a:ext>
            </a:extLst>
          </p:cNvPr>
          <p:cNvCxnSpPr>
            <a:cxnSpLocks/>
          </p:cNvCxnSpPr>
          <p:nvPr userDrawn="1"/>
        </p:nvCxnSpPr>
        <p:spPr>
          <a:xfrm>
            <a:off x="3471219" y="4984717"/>
            <a:ext cx="8336468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44">
            <a:extLst>
              <a:ext uri="{FF2B5EF4-FFF2-40B4-BE49-F238E27FC236}">
                <a16:creationId xmlns:a16="http://schemas.microsoft.com/office/drawing/2014/main" id="{B976A739-DF7F-0FE6-5EBB-13E7D01171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8529" y="5143611"/>
            <a:ext cx="5351679" cy="849715"/>
          </a:xfrm>
        </p:spPr>
        <p:txBody>
          <a:bodyPr anchor="ctr"/>
          <a:lstStyle>
            <a:lvl1pPr>
              <a:spcBef>
                <a:spcPts val="400"/>
              </a:spcBef>
              <a:spcAft>
                <a:spcPts val="0"/>
              </a:spcAft>
              <a:defRPr sz="1100">
                <a:latin typeface="+mj-lt"/>
              </a:defRPr>
            </a:lvl1pPr>
            <a:lvl2pPr marL="114300" indent="-114300">
              <a:spcBef>
                <a:spcPts val="0"/>
              </a:spcBef>
              <a:spcAft>
                <a:spcPts val="0"/>
              </a:spcAft>
              <a:defRPr sz="1100">
                <a:latin typeface="+mj-lt"/>
              </a:defRPr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add client quote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CEE5FA4-7DF6-5DBF-AACE-26A88E7681BE}"/>
              </a:ext>
            </a:extLst>
          </p:cNvPr>
          <p:cNvSpPr/>
          <p:nvPr userDrawn="1"/>
        </p:nvSpPr>
        <p:spPr>
          <a:xfrm>
            <a:off x="3536788" y="5166276"/>
            <a:ext cx="284256" cy="230476"/>
          </a:xfrm>
          <a:custGeom>
            <a:avLst/>
            <a:gdLst>
              <a:gd name="connsiteX0" fmla="*/ 219754 w 232311"/>
              <a:gd name="connsiteY0" fmla="*/ 0 h 188361"/>
              <a:gd name="connsiteX1" fmla="*/ 232311 w 232311"/>
              <a:gd name="connsiteY1" fmla="*/ 20858 h 188361"/>
              <a:gd name="connsiteX2" fmla="*/ 205801 w 232311"/>
              <a:gd name="connsiteY2" fmla="*/ 37029 h 188361"/>
              <a:gd name="connsiteX3" fmla="*/ 185221 w 232311"/>
              <a:gd name="connsiteY3" fmla="*/ 54933 h 188361"/>
              <a:gd name="connsiteX4" fmla="*/ 170047 w 232311"/>
              <a:gd name="connsiteY4" fmla="*/ 77009 h 188361"/>
              <a:gd name="connsiteX5" fmla="*/ 162897 w 232311"/>
              <a:gd name="connsiteY5" fmla="*/ 106389 h 188361"/>
              <a:gd name="connsiteX6" fmla="*/ 179640 w 232311"/>
              <a:gd name="connsiteY6" fmla="*/ 106389 h 188361"/>
              <a:gd name="connsiteX7" fmla="*/ 213649 w 232311"/>
              <a:gd name="connsiteY7" fmla="*/ 117028 h 188361"/>
              <a:gd name="connsiteX8" fmla="*/ 226032 w 232311"/>
              <a:gd name="connsiteY8" fmla="*/ 148247 h 188361"/>
              <a:gd name="connsiteX9" fmla="*/ 215045 w 232311"/>
              <a:gd name="connsiteY9" fmla="*/ 175629 h 188361"/>
              <a:gd name="connsiteX10" fmla="*/ 184872 w 232311"/>
              <a:gd name="connsiteY10" fmla="*/ 188361 h 188361"/>
              <a:gd name="connsiteX11" fmla="*/ 141968 w 232311"/>
              <a:gd name="connsiteY11" fmla="*/ 168688 h 188361"/>
              <a:gd name="connsiteX12" fmla="*/ 129061 w 232311"/>
              <a:gd name="connsiteY12" fmla="*/ 116984 h 188361"/>
              <a:gd name="connsiteX13" fmla="*/ 138828 w 232311"/>
              <a:gd name="connsiteY13" fmla="*/ 75729 h 188361"/>
              <a:gd name="connsiteX14" fmla="*/ 162548 w 232311"/>
              <a:gd name="connsiteY14" fmla="*/ 42479 h 188361"/>
              <a:gd name="connsiteX15" fmla="*/ 192895 w 232311"/>
              <a:gd name="connsiteY15" fmla="*/ 17062 h 188361"/>
              <a:gd name="connsiteX16" fmla="*/ 219754 w 232311"/>
              <a:gd name="connsiteY16" fmla="*/ 0 h 188361"/>
              <a:gd name="connsiteX17" fmla="*/ 90692 w 232311"/>
              <a:gd name="connsiteY17" fmla="*/ 0 h 188361"/>
              <a:gd name="connsiteX18" fmla="*/ 103249 w 232311"/>
              <a:gd name="connsiteY18" fmla="*/ 20858 h 188361"/>
              <a:gd name="connsiteX19" fmla="*/ 76739 w 232311"/>
              <a:gd name="connsiteY19" fmla="*/ 37029 h 188361"/>
              <a:gd name="connsiteX20" fmla="*/ 56159 w 232311"/>
              <a:gd name="connsiteY20" fmla="*/ 54933 h 188361"/>
              <a:gd name="connsiteX21" fmla="*/ 41160 w 232311"/>
              <a:gd name="connsiteY21" fmla="*/ 76838 h 188361"/>
              <a:gd name="connsiteX22" fmla="*/ 33835 w 232311"/>
              <a:gd name="connsiteY22" fmla="*/ 106389 h 188361"/>
              <a:gd name="connsiteX23" fmla="*/ 50578 w 232311"/>
              <a:gd name="connsiteY23" fmla="*/ 106389 h 188361"/>
              <a:gd name="connsiteX24" fmla="*/ 84587 w 232311"/>
              <a:gd name="connsiteY24" fmla="*/ 117028 h 188361"/>
              <a:gd name="connsiteX25" fmla="*/ 96970 w 232311"/>
              <a:gd name="connsiteY25" fmla="*/ 148247 h 188361"/>
              <a:gd name="connsiteX26" fmla="*/ 85983 w 232311"/>
              <a:gd name="connsiteY26" fmla="*/ 175629 h 188361"/>
              <a:gd name="connsiteX27" fmla="*/ 55810 w 232311"/>
              <a:gd name="connsiteY27" fmla="*/ 188361 h 188361"/>
              <a:gd name="connsiteX28" fmla="*/ 12906 w 232311"/>
              <a:gd name="connsiteY28" fmla="*/ 168688 h 188361"/>
              <a:gd name="connsiteX29" fmla="*/ 0 w 232311"/>
              <a:gd name="connsiteY29" fmla="*/ 116984 h 188361"/>
              <a:gd name="connsiteX30" fmla="*/ 9766 w 232311"/>
              <a:gd name="connsiteY30" fmla="*/ 75729 h 188361"/>
              <a:gd name="connsiteX31" fmla="*/ 33486 w 232311"/>
              <a:gd name="connsiteY31" fmla="*/ 42479 h 188361"/>
              <a:gd name="connsiteX32" fmla="*/ 63833 w 232311"/>
              <a:gd name="connsiteY32" fmla="*/ 17062 h 188361"/>
              <a:gd name="connsiteX33" fmla="*/ 90692 w 232311"/>
              <a:gd name="connsiteY33" fmla="*/ 0 h 1883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232311" h="188361">
                <a:moveTo>
                  <a:pt x="219754" y="0"/>
                </a:moveTo>
                <a:lnTo>
                  <a:pt x="232311" y="20858"/>
                </a:lnTo>
                <a:cubicBezTo>
                  <a:pt x="221381" y="27119"/>
                  <a:pt x="212545" y="32509"/>
                  <a:pt x="205801" y="37029"/>
                </a:cubicBezTo>
                <a:cubicBezTo>
                  <a:pt x="199057" y="41549"/>
                  <a:pt x="192197" y="47517"/>
                  <a:pt x="185221" y="54933"/>
                </a:cubicBezTo>
                <a:cubicBezTo>
                  <a:pt x="178477" y="62117"/>
                  <a:pt x="173419" y="69475"/>
                  <a:pt x="170047" y="77009"/>
                </a:cubicBezTo>
                <a:cubicBezTo>
                  <a:pt x="166675" y="84543"/>
                  <a:pt x="164292" y="94337"/>
                  <a:pt x="162897" y="106389"/>
                </a:cubicBezTo>
                <a:lnTo>
                  <a:pt x="179640" y="106389"/>
                </a:lnTo>
                <a:cubicBezTo>
                  <a:pt x="194058" y="106389"/>
                  <a:pt x="205394" y="109935"/>
                  <a:pt x="213649" y="117028"/>
                </a:cubicBezTo>
                <a:cubicBezTo>
                  <a:pt x="221905" y="124120"/>
                  <a:pt x="226032" y="134527"/>
                  <a:pt x="226032" y="148247"/>
                </a:cubicBezTo>
                <a:cubicBezTo>
                  <a:pt x="226032" y="158014"/>
                  <a:pt x="222370" y="167141"/>
                  <a:pt x="215045" y="175629"/>
                </a:cubicBezTo>
                <a:cubicBezTo>
                  <a:pt x="207719" y="184117"/>
                  <a:pt x="197662" y="188361"/>
                  <a:pt x="184872" y="188361"/>
                </a:cubicBezTo>
                <a:cubicBezTo>
                  <a:pt x="164873" y="188361"/>
                  <a:pt x="150572" y="181803"/>
                  <a:pt x="141968" y="168688"/>
                </a:cubicBezTo>
                <a:cubicBezTo>
                  <a:pt x="133364" y="155573"/>
                  <a:pt x="129061" y="138338"/>
                  <a:pt x="129061" y="116984"/>
                </a:cubicBezTo>
                <a:cubicBezTo>
                  <a:pt x="129061" y="101898"/>
                  <a:pt x="132317" y="88146"/>
                  <a:pt x="138828" y="75729"/>
                </a:cubicBezTo>
                <a:cubicBezTo>
                  <a:pt x="145340" y="63311"/>
                  <a:pt x="153246" y="52228"/>
                  <a:pt x="162548" y="42479"/>
                </a:cubicBezTo>
                <a:cubicBezTo>
                  <a:pt x="172082" y="32498"/>
                  <a:pt x="182198" y="24026"/>
                  <a:pt x="192895" y="17062"/>
                </a:cubicBezTo>
                <a:cubicBezTo>
                  <a:pt x="203592" y="10099"/>
                  <a:pt x="212545" y="4411"/>
                  <a:pt x="219754" y="0"/>
                </a:cubicBezTo>
                <a:close/>
                <a:moveTo>
                  <a:pt x="90692" y="0"/>
                </a:moveTo>
                <a:lnTo>
                  <a:pt x="103249" y="20858"/>
                </a:lnTo>
                <a:cubicBezTo>
                  <a:pt x="92320" y="27119"/>
                  <a:pt x="83483" y="32509"/>
                  <a:pt x="76739" y="37029"/>
                </a:cubicBezTo>
                <a:cubicBezTo>
                  <a:pt x="69995" y="41549"/>
                  <a:pt x="63135" y="47517"/>
                  <a:pt x="56159" y="54933"/>
                </a:cubicBezTo>
                <a:cubicBezTo>
                  <a:pt x="49648" y="61888"/>
                  <a:pt x="44648" y="69189"/>
                  <a:pt x="41160" y="76838"/>
                </a:cubicBezTo>
                <a:cubicBezTo>
                  <a:pt x="37672" y="84486"/>
                  <a:pt x="35230" y="94337"/>
                  <a:pt x="33835" y="106389"/>
                </a:cubicBezTo>
                <a:lnTo>
                  <a:pt x="50578" y="106389"/>
                </a:lnTo>
                <a:cubicBezTo>
                  <a:pt x="64996" y="106389"/>
                  <a:pt x="76332" y="109935"/>
                  <a:pt x="84587" y="117028"/>
                </a:cubicBezTo>
                <a:cubicBezTo>
                  <a:pt x="92843" y="124120"/>
                  <a:pt x="96970" y="134527"/>
                  <a:pt x="96970" y="148247"/>
                </a:cubicBezTo>
                <a:cubicBezTo>
                  <a:pt x="96970" y="158014"/>
                  <a:pt x="93308" y="167141"/>
                  <a:pt x="85983" y="175629"/>
                </a:cubicBezTo>
                <a:cubicBezTo>
                  <a:pt x="78658" y="184117"/>
                  <a:pt x="68600" y="188361"/>
                  <a:pt x="55810" y="188361"/>
                </a:cubicBezTo>
                <a:cubicBezTo>
                  <a:pt x="35811" y="188361"/>
                  <a:pt x="21510" y="181803"/>
                  <a:pt x="12906" y="168688"/>
                </a:cubicBezTo>
                <a:cubicBezTo>
                  <a:pt x="4302" y="155573"/>
                  <a:pt x="0" y="138338"/>
                  <a:pt x="0" y="116984"/>
                </a:cubicBezTo>
                <a:cubicBezTo>
                  <a:pt x="0" y="101898"/>
                  <a:pt x="3255" y="88146"/>
                  <a:pt x="9766" y="75729"/>
                </a:cubicBezTo>
                <a:cubicBezTo>
                  <a:pt x="16278" y="63311"/>
                  <a:pt x="24184" y="52228"/>
                  <a:pt x="33486" y="42479"/>
                </a:cubicBezTo>
                <a:cubicBezTo>
                  <a:pt x="43020" y="32498"/>
                  <a:pt x="53136" y="24026"/>
                  <a:pt x="63833" y="17062"/>
                </a:cubicBezTo>
                <a:cubicBezTo>
                  <a:pt x="74530" y="10099"/>
                  <a:pt x="83483" y="4411"/>
                  <a:pt x="90692" y="0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72000" rIns="108000" bIns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en-US" sz="2000" err="1"/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0A00A618-60D7-3DCD-BDCE-655618F478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759949" y="5671723"/>
            <a:ext cx="1901963" cy="457200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wrap="none" anchor="ctr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63" name="Text Placeholder 61">
            <a:extLst>
              <a:ext uri="{FF2B5EF4-FFF2-40B4-BE49-F238E27FC236}">
                <a16:creationId xmlns:a16="http://schemas.microsoft.com/office/drawing/2014/main" id="{8BB1E94C-EC59-116E-DF4E-41B3C11844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759949" y="5128383"/>
            <a:ext cx="1901963" cy="457200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wrap="none" anchor="ctr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10EF9A07-FBA1-EFAB-ECF1-199939FF7A2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4111" y="6015413"/>
            <a:ext cx="5349240" cy="169863"/>
          </a:xfrm>
        </p:spPr>
        <p:txBody>
          <a:bodyPr/>
          <a:lstStyle>
            <a:lvl1pPr algn="r">
              <a:defRPr sz="900" i="1"/>
            </a:lvl1pPr>
            <a:lvl2pPr>
              <a:defRPr sz="1000" i="1"/>
            </a:lvl2pPr>
            <a:lvl3pPr>
              <a:defRPr sz="1000" i="1"/>
            </a:lvl3pPr>
            <a:lvl4pPr>
              <a:defRPr sz="1000" i="1"/>
            </a:lvl4pPr>
            <a:lvl5pPr>
              <a:defRPr sz="1000" i="1"/>
            </a:lvl5pPr>
          </a:lstStyle>
          <a:p>
            <a:pPr lvl="0"/>
            <a:r>
              <a:rPr lang="en-US"/>
              <a:t>Click to add Name, Title, Company</a:t>
            </a:r>
          </a:p>
        </p:txBody>
      </p:sp>
      <p:sp>
        <p:nvSpPr>
          <p:cNvPr id="69" name="Picture Placeholder 68">
            <a:extLst>
              <a:ext uri="{FF2B5EF4-FFF2-40B4-BE49-F238E27FC236}">
                <a16:creationId xmlns:a16="http://schemas.microsoft.com/office/drawing/2014/main" id="{AB6436F5-C30C-FFA3-C503-5DDF434F960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75154" y="1023938"/>
            <a:ext cx="2743200" cy="5213350"/>
          </a:xfrm>
          <a:solidFill>
            <a:schemeClr val="accent6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txBody>
          <a:bodyPr/>
          <a:lstStyle>
            <a:lvl1pPr algn="ctr">
              <a:defRPr sz="140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Add Industry-relevant photo</a:t>
            </a:r>
          </a:p>
        </p:txBody>
      </p:sp>
      <p:sp>
        <p:nvSpPr>
          <p:cNvPr id="71" name="Picture Placeholder 70">
            <a:extLst>
              <a:ext uri="{FF2B5EF4-FFF2-40B4-BE49-F238E27FC236}">
                <a16:creationId xmlns:a16="http://schemas.microsoft.com/office/drawing/2014/main" id="{36C2537F-61C1-D3D8-A1D2-68C4755BB38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32070" y="340139"/>
            <a:ext cx="1629368" cy="500822"/>
          </a:xfrm>
        </p:spPr>
        <p:txBody>
          <a:bodyPr wrap="none" anchor="ctr">
            <a:noAutofit/>
          </a:bodyPr>
          <a:lstStyle>
            <a:lvl1pPr algn="ctr">
              <a:defRPr sz="1200"/>
            </a:lvl1pPr>
          </a:lstStyle>
          <a:p>
            <a:r>
              <a:rPr lang="en-US"/>
              <a:t>Add Client logo</a:t>
            </a:r>
          </a:p>
        </p:txBody>
      </p:sp>
      <p:sp>
        <p:nvSpPr>
          <p:cNvPr id="73" name="Text Placeholder 72">
            <a:extLst>
              <a:ext uri="{FF2B5EF4-FFF2-40B4-BE49-F238E27FC236}">
                <a16:creationId xmlns:a16="http://schemas.microsoft.com/office/drawing/2014/main" id="{6826F69E-D1F2-86CD-4AF4-C2ADA0B573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148746" y="328613"/>
            <a:ext cx="7658941" cy="207962"/>
          </a:xfrm>
        </p:spPr>
        <p:txBody>
          <a:bodyPr anchor="ctr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add line of business or vertical</a:t>
            </a:r>
          </a:p>
        </p:txBody>
      </p:sp>
    </p:spTree>
    <p:extLst>
      <p:ext uri="{BB962C8B-B14F-4D97-AF65-F5344CB8AC3E}">
        <p14:creationId xmlns:p14="http://schemas.microsoft.com/office/powerpoint/2010/main" val="31064432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8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3 Column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066817-B6CF-A2DE-966F-DB9281D305B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1000" y="1371600"/>
            <a:ext cx="3657600" cy="48768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27829AD-F282-6D19-1BDE-62A372EE463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67200" y="1371600"/>
            <a:ext cx="3657600" cy="48768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3BCA8BAD-045F-5449-26C8-1CC7E5D921AD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53400" y="1371600"/>
            <a:ext cx="3657600" cy="48768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DCFB687-132C-1CA9-8A9A-779EFBBCE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45720" rIns="0" bIns="45720" rtlCol="0" anchor="t">
            <a:noAutofit/>
          </a:bodyPr>
          <a:lstStyle>
            <a:lvl1pPr>
              <a:defRPr lang="en-US"/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179F7A9-35D1-1344-0A60-0E8C3F562CD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400800"/>
            <a:ext cx="914400" cy="304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November 2023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E9646E-BBCC-2CA0-9416-FFBF3870D6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71600" y="6400800"/>
            <a:ext cx="4114800" cy="304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2023 NTT DATA, Inc. | NTT Ltd. and its affiliates are NTT DATA, Inc. companies.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FFA3CBC-D481-CBC2-5EFC-A4CAE0345F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60D39823-8059-4D49-BD26-6D32C31B862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682340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ccess Story (blinded clie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5C8932E-61C0-40BE-B808-966FBE2FFF6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18141" y="1701800"/>
            <a:ext cx="2438400" cy="4612736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100">
                <a:solidFill>
                  <a:schemeClr val="tx2"/>
                </a:solidFill>
              </a:defRPr>
            </a:lvl1pPr>
          </a:lstStyle>
          <a:p>
            <a:r>
              <a:rPr kumimoji="1" lang="en-GB" sz="12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Example: The client partners with </a:t>
            </a:r>
            <a:br>
              <a:rPr kumimoji="1" lang="en-GB" sz="12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</a:br>
            <a:r>
              <a:rPr kumimoji="1" lang="en-GB" sz="12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NTT DATA to manage IT infrastructure services — covering data </a:t>
            </a:r>
            <a:r>
              <a:rPr kumimoji="1" lang="en-US" sz="12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enter</a:t>
            </a:r>
            <a:r>
              <a:rPr kumimoji="1" lang="en-GB" sz="12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and help desk operations, security, servers, networking and messaging — so staff can focus on the core business.</a:t>
            </a:r>
            <a:endParaRPr lang="en-US" sz="12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12E4B7-7106-4D78-9310-49E5D0776A7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87483" y="1701800"/>
            <a:ext cx="2438400" cy="4612736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100">
                <a:solidFill>
                  <a:schemeClr val="tx2"/>
                </a:solidFill>
              </a:defRPr>
            </a:lvl1pPr>
          </a:lstStyle>
          <a:p>
            <a:r>
              <a:rPr lang="en-GB" sz="1200"/>
              <a:t>Example: The client needed to boost operational efficiency, flexibility and agility so it could continuously respond to customer demand.</a:t>
            </a:r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B92469F-F6B8-4A5B-A69A-AA795CB1E32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653852926"/>
              </p:ext>
            </p:extLst>
          </p:nvPr>
        </p:nvGraphicFramePr>
        <p:xfrm>
          <a:off x="4187483" y="1215636"/>
          <a:ext cx="7699719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34161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198618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434161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198618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434161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Business need</a:t>
                      </a:r>
                      <a:r>
                        <a:rPr kumimoji="1" lang="en-US" sz="2000" b="0" kern="120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Outcomes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D5A263C5-67C5-495B-BE59-7EAB1AFF31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87483" y="758436"/>
            <a:ext cx="7699717" cy="4572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60955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1219109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828662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243821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ubhead (Sentence case, no punctuation)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6F85EC30-45B5-44A3-8E89-3B149D36255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448802" y="1701800"/>
            <a:ext cx="2438400" cy="4612736"/>
          </a:xfrm>
        </p:spPr>
        <p:txBody>
          <a:bodyPr lIns="0" tIns="0" rIns="0" bIns="0">
            <a:normAutofit/>
          </a:bodyPr>
          <a:lstStyle>
            <a:lvl1pPr marL="171450" indent="-171450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1pPr>
          </a:lstStyle>
          <a:p>
            <a:r>
              <a:rPr kumimoji="1" lang="en-US" sz="12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Bullets</a:t>
            </a:r>
            <a:endParaRPr lang="en-US" sz="120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A4C123C-4CB0-6F07-DB1B-8EC434EF5649}"/>
              </a:ext>
            </a:extLst>
          </p:cNvPr>
          <p:cNvSpPr txBox="1"/>
          <p:nvPr userDrawn="1"/>
        </p:nvSpPr>
        <p:spPr>
          <a:xfrm>
            <a:off x="4287503" y="6529148"/>
            <a:ext cx="2011680" cy="123111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 Services, LLC. 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Box 16">
            <a:extLst>
              <a:ext uri="{FF2B5EF4-FFF2-40B4-BE49-F238E27FC236}">
                <a16:creationId xmlns:a16="http://schemas.microsoft.com/office/drawing/2014/main" id="{79B6083B-7460-94C6-B4B8-DC923074936C}"/>
              </a:ext>
            </a:extLst>
          </p:cNvPr>
          <p:cNvSpPr txBox="1"/>
          <p:nvPr userDrawn="1"/>
        </p:nvSpPr>
        <p:spPr>
          <a:xfrm>
            <a:off x="7684984" y="6529148"/>
            <a:ext cx="309700" cy="123111"/>
          </a:xfrm>
          <a:prstGeom prst="rect">
            <a:avLst/>
          </a:prstGeom>
          <a:noFill/>
        </p:spPr>
        <p:txBody>
          <a:bodyPr wrap="none" t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9AC1C8-10F2-4A77-9A6E-9375F974715F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46EE16B-8E68-CC91-ABE0-5F7023DFDD0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2E28192-5F21-C56B-F3D8-D7ED6A134B7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2D3EA3EA-221F-9AD0-61D0-3DDF1790F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7483" y="149104"/>
            <a:ext cx="7633042" cy="60933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92783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44">
          <p15:clr>
            <a:srgbClr val="FBAE40"/>
          </p15:clr>
        </p15:guide>
        <p15:guide id="3" pos="7536">
          <p15:clr>
            <a:srgbClr val="FBAE40"/>
          </p15:clr>
        </p15:guide>
        <p15:guide id="4" orient="horz" pos="672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uccess Story (blinded clie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5C8932E-61C0-40BE-B808-966FBE2FFF6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75" y="1892300"/>
            <a:ext cx="2771775" cy="4432300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100">
                <a:solidFill>
                  <a:schemeClr val="tx2"/>
                </a:solidFill>
              </a:defRPr>
            </a:lvl1pPr>
          </a:lstStyle>
          <a:p>
            <a:r>
              <a:rPr kumimoji="1" lang="en-GB" sz="12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Example: The client partners with </a:t>
            </a:r>
            <a:br>
              <a:rPr kumimoji="1" lang="en-GB" sz="12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</a:br>
            <a:r>
              <a:rPr kumimoji="1" lang="en-GB" sz="12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NTT DATA to manage IT infrastructure services — covering data </a:t>
            </a:r>
            <a:r>
              <a:rPr kumimoji="1" lang="en-US" sz="12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enter</a:t>
            </a:r>
            <a:r>
              <a:rPr kumimoji="1" lang="en-GB" sz="12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and help desk operations, security, servers, networking and messaging — so staff can focus on the core business.</a:t>
            </a:r>
            <a:endParaRPr lang="en-US" sz="12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12E4B7-7106-4D78-9310-49E5D0776A7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25458" y="1892300"/>
            <a:ext cx="2775292" cy="4432300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100">
                <a:solidFill>
                  <a:schemeClr val="tx2"/>
                </a:solidFill>
              </a:defRPr>
            </a:lvl1pPr>
          </a:lstStyle>
          <a:p>
            <a:r>
              <a:rPr lang="en-GB" sz="1200"/>
              <a:t>Example: The client needed to boost operational efficiency, flexibility and agility so it could continuously respond to customer demand.</a:t>
            </a:r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B92469F-F6B8-4A5B-A69A-AA795CB1E32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839711222"/>
              </p:ext>
            </p:extLst>
          </p:nvPr>
        </p:nvGraphicFramePr>
        <p:xfrm>
          <a:off x="3225458" y="1406136"/>
          <a:ext cx="8814143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86471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227365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786471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227365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786471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Business need</a:t>
                      </a:r>
                      <a:r>
                        <a:rPr kumimoji="1" lang="en-US" sz="2000" b="0" kern="120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Outcomes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D5A263C5-67C5-495B-BE59-7EAB1AFF31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25458" y="758436"/>
            <a:ext cx="8814142" cy="4572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60955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1219109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828662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243821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ubhead (Sentence case, no punctuation)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6F85EC30-45B5-44A3-8E89-3B149D36255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67827" y="1892300"/>
            <a:ext cx="2781298" cy="4432300"/>
          </a:xfrm>
        </p:spPr>
        <p:txBody>
          <a:bodyPr lIns="0" tIns="0" rIns="0" bIns="0">
            <a:normAutofit/>
          </a:bodyPr>
          <a:lstStyle>
            <a:lvl1pPr marL="171450" indent="-171450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1pPr>
          </a:lstStyle>
          <a:p>
            <a:r>
              <a:rPr kumimoji="1" lang="en-US" sz="12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Bullets</a:t>
            </a:r>
            <a:endParaRPr lang="en-US" sz="120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A4C123C-4CB0-6F07-DB1B-8EC434EF5649}"/>
              </a:ext>
            </a:extLst>
          </p:cNvPr>
          <p:cNvSpPr txBox="1"/>
          <p:nvPr userDrawn="1"/>
        </p:nvSpPr>
        <p:spPr>
          <a:xfrm>
            <a:off x="3227812" y="6529148"/>
            <a:ext cx="3211088" cy="123111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 Services, LLC. 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Box 16">
            <a:extLst>
              <a:ext uri="{FF2B5EF4-FFF2-40B4-BE49-F238E27FC236}">
                <a16:creationId xmlns:a16="http://schemas.microsoft.com/office/drawing/2014/main" id="{79B6083B-7460-94C6-B4B8-DC923074936C}"/>
              </a:ext>
            </a:extLst>
          </p:cNvPr>
          <p:cNvSpPr txBox="1"/>
          <p:nvPr userDrawn="1"/>
        </p:nvSpPr>
        <p:spPr>
          <a:xfrm>
            <a:off x="7684984" y="6529148"/>
            <a:ext cx="309700" cy="123111"/>
          </a:xfrm>
          <a:prstGeom prst="rect">
            <a:avLst/>
          </a:prstGeom>
          <a:noFill/>
        </p:spPr>
        <p:txBody>
          <a:bodyPr wrap="none" t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9AC1C8-10F2-4A77-9A6E-9375F974715F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46EE16B-8E68-CC91-ABE0-5F7023DFDD0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30607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2E28192-5F21-C56B-F3D8-D7ED6A134B7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3060700" cy="1656000"/>
          </a:xfr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2D3EA3EA-221F-9AD0-61D0-3DDF1790F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5458" y="149104"/>
            <a:ext cx="8814142" cy="60933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98494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44">
          <p15:clr>
            <a:srgbClr val="FBAE40"/>
          </p15:clr>
        </p15:guide>
        <p15:guide id="3" pos="7536">
          <p15:clr>
            <a:srgbClr val="FBAE40"/>
          </p15:clr>
        </p15:guide>
        <p15:guide id="4" orient="horz" pos="672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7C76F67-C05C-FB2E-6B26-07FCF9F6F748}"/>
              </a:ext>
            </a:extLst>
          </p:cNvPr>
          <p:cNvSpPr/>
          <p:nvPr userDrawn="1"/>
        </p:nvSpPr>
        <p:spPr>
          <a:xfrm>
            <a:off x="1" y="0"/>
            <a:ext cx="229025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en-US" sz="200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27C13D-9DB8-8AF0-4157-DDAAD19CBD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8401" y="333375"/>
            <a:ext cx="9382124" cy="79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3D33F7A-B8AB-09D9-25E3-B4EE54B35BA5}"/>
              </a:ext>
            </a:extLst>
          </p:cNvPr>
          <p:cNvSpPr txBox="1"/>
          <p:nvPr userDrawn="1"/>
        </p:nvSpPr>
        <p:spPr>
          <a:xfrm>
            <a:off x="2529041" y="6529148"/>
            <a:ext cx="2011680" cy="123111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 Services, LLC. 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C76EE67-3EBB-F988-7F5E-88147B29FE8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03233" y="357808"/>
            <a:ext cx="1883786" cy="1881314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92E0413-BBAA-E8B9-D022-6B0F25768EF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2438401" y="1412875"/>
            <a:ext cx="9382122" cy="4824413"/>
          </a:xfrm>
        </p:spPr>
        <p:txBody>
          <a:bodyPr/>
          <a:lstStyle>
            <a:lvl1pPr>
              <a:defRPr sz="1600"/>
            </a:lvl1pPr>
            <a:lvl2pPr>
              <a:spcBef>
                <a:spcPts val="300"/>
              </a:spcBef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1EA55260-34B0-40EB-91E3-6DCD846AE3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4567750"/>
            <a:ext cx="2290250" cy="2290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19306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7C76F67-C05C-FB2E-6B26-07FCF9F6F748}"/>
              </a:ext>
            </a:extLst>
          </p:cNvPr>
          <p:cNvSpPr/>
          <p:nvPr userDrawn="1"/>
        </p:nvSpPr>
        <p:spPr>
          <a:xfrm>
            <a:off x="1" y="0"/>
            <a:ext cx="229025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en-US" sz="200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27C13D-9DB8-8AF0-4157-DDAAD19CBD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8401" y="333375"/>
            <a:ext cx="9382124" cy="79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3D33F7A-B8AB-09D9-25E3-B4EE54B35BA5}"/>
              </a:ext>
            </a:extLst>
          </p:cNvPr>
          <p:cNvSpPr txBox="1"/>
          <p:nvPr userDrawn="1"/>
        </p:nvSpPr>
        <p:spPr>
          <a:xfrm>
            <a:off x="2529041" y="6529148"/>
            <a:ext cx="2011680" cy="123111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 Services, LLC. 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4E4D5CF1-FD80-BCE6-2D69-E0AEF388AC5D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2290250" cy="6858000"/>
          </a:xfrm>
          <a:prstGeom prst="rect">
            <a:avLst/>
          </a:prstGeom>
          <a:noFill/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A764058-03FE-29E3-618D-F595AFD4BB9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2290250" cy="1656000"/>
          </a:xfr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9904520-E0CB-A0C2-D23B-ACA5E90C26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438401" y="837375"/>
            <a:ext cx="9382124" cy="28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299767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ltant Profi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"/>
          <p:cNvSpPr txBox="1">
            <a:spLocks/>
          </p:cNvSpPr>
          <p:nvPr userDrawn="1"/>
        </p:nvSpPr>
        <p:spPr bwMode="auto">
          <a:xfrm>
            <a:off x="9277349" y="149087"/>
            <a:ext cx="2926080" cy="6088202"/>
          </a:xfrm>
          <a:prstGeom prst="rect">
            <a:avLst/>
          </a:prstGeom>
          <a:solidFill>
            <a:schemeClr val="tx2">
              <a:alpha val="12000"/>
            </a:schemeClr>
          </a:solidFill>
          <a:ln>
            <a:noFill/>
          </a:ln>
        </p:spPr>
        <p:txBody>
          <a:bodyPr vert="horz" wrap="square" lIns="243840" tIns="1219200" rIns="365760" bIns="6096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ts val="2200"/>
              </a:lnSpc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18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rgbClr val="80808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rgbClr val="80808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rgbClr val="80808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defRPr lang="en-US" sz="1200" i="1" kern="1200">
                <a:solidFill>
                  <a:srgbClr val="9BBF7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94" indent="-228594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en-US" sz="1333">
              <a:solidFill>
                <a:schemeClr val="tx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371475" y="1412875"/>
            <a:ext cx="8809570" cy="4824413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buNone/>
              <a:defRPr sz="1100" b="1"/>
            </a:lvl1pPr>
            <a:lvl2pPr marL="0" indent="0">
              <a:buNone/>
              <a:defRPr sz="1100"/>
            </a:lvl2pPr>
            <a:lvl3pPr marL="233363" indent="-152400">
              <a:spcBef>
                <a:spcPts val="200"/>
              </a:spcBef>
              <a:defRPr sz="105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801674"/>
            <a:ext cx="8812050" cy="5330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i="1">
                <a:solidFill>
                  <a:schemeClr val="bg1">
                    <a:lumMod val="50000"/>
                  </a:schemeClr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9391650" y="292100"/>
            <a:ext cx="2705100" cy="1897063"/>
          </a:xfrm>
        </p:spPr>
        <p:txBody>
          <a:bodyPr lIns="0" rIns="0">
            <a:normAutofit/>
          </a:bodyPr>
          <a:lstStyle>
            <a:lvl1pPr marL="171450" indent="-171450">
              <a:buClrTx/>
              <a:defRPr sz="1100" i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9391650" y="2473326"/>
            <a:ext cx="2705100" cy="1770684"/>
          </a:xfrm>
        </p:spPr>
        <p:txBody>
          <a:bodyPr lIns="0" rIns="0">
            <a:normAutofit/>
          </a:bodyPr>
          <a:lstStyle>
            <a:lvl1pPr marL="171450" indent="-171450">
              <a:buClrTx/>
              <a:defRPr sz="1100" i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9391650" y="4532243"/>
            <a:ext cx="2705100" cy="1705045"/>
          </a:xfrm>
        </p:spPr>
        <p:txBody>
          <a:bodyPr lIns="0" rIns="0">
            <a:normAutofit/>
          </a:bodyPr>
          <a:lstStyle>
            <a:lvl1pPr marL="171450" indent="-171450">
              <a:buClrTx/>
              <a:defRPr sz="1100" i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31F95B7-ECE2-1306-15FA-B1FB031647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8799195" cy="46333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: Top Corners Rounded 5"/>
          <p:cNvSpPr/>
          <p:nvPr userDrawn="1"/>
        </p:nvSpPr>
        <p:spPr>
          <a:xfrm rot="16200000">
            <a:off x="10594085" y="-1317244"/>
            <a:ext cx="292608" cy="292608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1400" b="1"/>
              <a:t>Industry Expertise </a:t>
            </a:r>
          </a:p>
        </p:txBody>
      </p:sp>
      <p:sp>
        <p:nvSpPr>
          <p:cNvPr id="7" name="Rectangle: Top Corners Rounded 6"/>
          <p:cNvSpPr/>
          <p:nvPr userDrawn="1"/>
        </p:nvSpPr>
        <p:spPr>
          <a:xfrm rot="16200000">
            <a:off x="10594085" y="871918"/>
            <a:ext cx="292608" cy="292608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1400" b="1"/>
              <a:t>Domain Expertise </a:t>
            </a:r>
          </a:p>
        </p:txBody>
      </p:sp>
      <p:sp>
        <p:nvSpPr>
          <p:cNvPr id="8" name="Rectangle: Top Corners Rounded 7"/>
          <p:cNvSpPr/>
          <p:nvPr userDrawn="1"/>
        </p:nvSpPr>
        <p:spPr>
          <a:xfrm rot="16200000">
            <a:off x="10594085" y="2926764"/>
            <a:ext cx="292608" cy="292608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1400" b="1"/>
              <a:t>Technology Expertise </a:t>
            </a:r>
          </a:p>
        </p:txBody>
      </p:sp>
    </p:spTree>
    <p:extLst>
      <p:ext uri="{BB962C8B-B14F-4D97-AF65-F5344CB8AC3E}">
        <p14:creationId xmlns:p14="http://schemas.microsoft.com/office/powerpoint/2010/main" val="34192851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_Picture Full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0077599-73C2-4B77-944D-C34B64F408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/>
          </a:solidFill>
        </p:spPr>
        <p:txBody>
          <a:bodyPr anchor="ctr" anchorCtr="0"/>
          <a:lstStyle>
            <a:lvl1pPr algn="ctr">
              <a:defRPr sz="2000">
                <a:solidFill>
                  <a:srgbClr val="0072BC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473574-5E40-4F4B-82BD-ECFABA52E2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CCAE21C-42ED-4CFD-A1E1-FE234323EC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5194300"/>
            <a:ext cx="12192000" cy="1663700"/>
          </a:xfr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3" name="NTT DATA Global Logo" descr="NTT DATA Global Logo">
            <a:extLst>
              <a:ext uri="{FF2B5EF4-FFF2-40B4-BE49-F238E27FC236}">
                <a16:creationId xmlns:a16="http://schemas.microsoft.com/office/drawing/2014/main" id="{AAC9A100-4458-748B-AE62-3E3DB5DF4514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800" kern="1200">
                <a:noFill/>
                <a:latin typeface="+mn-lt"/>
                <a:ea typeface="+mn-ea"/>
                <a:cs typeface="+mn-cs"/>
              </a:defRPr>
            </a:lvl2pPr>
            <a:lvl3pPr marL="536575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3pPr>
            <a:lvl4pPr marL="804863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600" kern="1200">
                <a:noFill/>
                <a:latin typeface="+mn-lt"/>
                <a:ea typeface="+mn-ea"/>
                <a:cs typeface="+mn-cs"/>
              </a:defRPr>
            </a:lvl4pPr>
            <a:lvl5pPr marL="1077913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DE"/>
              <a:t>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979D252-E75E-29EA-FA03-0C1F2FE419A1}"/>
              </a:ext>
            </a:extLst>
          </p:cNvPr>
          <p:cNvSpPr txBox="1"/>
          <p:nvPr userDrawn="1"/>
        </p:nvSpPr>
        <p:spPr>
          <a:xfrm>
            <a:off x="371475" y="6529148"/>
            <a:ext cx="1593385" cy="123111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 Services, LLC. 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Box 16">
            <a:extLst>
              <a:ext uri="{FF2B5EF4-FFF2-40B4-BE49-F238E27FC236}">
                <a16:creationId xmlns:a16="http://schemas.microsoft.com/office/drawing/2014/main" id="{7865E08E-CBBF-31D4-EDB5-9471882B8894}"/>
              </a:ext>
            </a:extLst>
          </p:cNvPr>
          <p:cNvSpPr txBox="1"/>
          <p:nvPr userDrawn="1"/>
        </p:nvSpPr>
        <p:spPr>
          <a:xfrm>
            <a:off x="5941150" y="6529148"/>
            <a:ext cx="309700" cy="123111"/>
          </a:xfrm>
          <a:prstGeom prst="rect">
            <a:avLst/>
          </a:prstGeom>
          <a:noFill/>
        </p:spPr>
        <p:txBody>
          <a:bodyPr wrap="none" t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9AC1C8-10F2-4A77-9A6E-9375F974715F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385914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_Picture Righ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318A9578-38C1-F618-D2D6-E94DBB278B98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5340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6E0CB35-CBF9-AFA5-830C-F4D86F08897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153400" y="5202000"/>
            <a:ext cx="4038600" cy="1656000"/>
          </a:xfr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7781925" cy="79200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NTT DATA Global Logo" descr="NTT DATA Global Logo">
            <a:extLst>
              <a:ext uri="{FF2B5EF4-FFF2-40B4-BE49-F238E27FC236}">
                <a16:creationId xmlns:a16="http://schemas.microsoft.com/office/drawing/2014/main" id="{5082467D-38B1-0541-A8E7-DD846D36F5B1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800" kern="1200">
                <a:noFill/>
                <a:latin typeface="+mn-lt"/>
                <a:ea typeface="+mn-ea"/>
                <a:cs typeface="+mn-cs"/>
              </a:defRPr>
            </a:lvl2pPr>
            <a:lvl3pPr marL="536575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3pPr>
            <a:lvl4pPr marL="804863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600" kern="1200">
                <a:noFill/>
                <a:latin typeface="+mn-lt"/>
                <a:ea typeface="+mn-ea"/>
                <a:cs typeface="+mn-cs"/>
              </a:defRPr>
            </a:lvl4pPr>
            <a:lvl5pPr marL="1077913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DE"/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A34C266-A456-DD4C-9A60-8BF78776FE54}"/>
              </a:ext>
            </a:extLst>
          </p:cNvPr>
          <p:cNvSpPr txBox="1"/>
          <p:nvPr userDrawn="1"/>
        </p:nvSpPr>
        <p:spPr>
          <a:xfrm>
            <a:off x="371475" y="6529148"/>
            <a:ext cx="1593385" cy="123111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 Services, LLC. 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Box 16">
            <a:extLst>
              <a:ext uri="{FF2B5EF4-FFF2-40B4-BE49-F238E27FC236}">
                <a16:creationId xmlns:a16="http://schemas.microsoft.com/office/drawing/2014/main" id="{32130694-427A-B2C5-1ED0-59E473328876}"/>
              </a:ext>
            </a:extLst>
          </p:cNvPr>
          <p:cNvSpPr txBox="1"/>
          <p:nvPr userDrawn="1"/>
        </p:nvSpPr>
        <p:spPr>
          <a:xfrm>
            <a:off x="5941150" y="6529148"/>
            <a:ext cx="309700" cy="123111"/>
          </a:xfrm>
          <a:prstGeom prst="rect">
            <a:avLst/>
          </a:prstGeom>
          <a:noFill/>
        </p:spPr>
        <p:txBody>
          <a:bodyPr wrap="none" t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9AC1C8-10F2-4A77-9A6E-9375F974715F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27917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_Picture Lef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F7A191D-6071-E779-7F2E-34886D0882B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287503" y="333375"/>
            <a:ext cx="7533022" cy="79200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A5DF90C5-2F99-EF32-CBEA-23287BDE244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E81D38C-F61D-0B55-E417-248E5A0F1775}"/>
              </a:ext>
            </a:extLst>
          </p:cNvPr>
          <p:cNvSpPr txBox="1"/>
          <p:nvPr userDrawn="1"/>
        </p:nvSpPr>
        <p:spPr>
          <a:xfrm>
            <a:off x="4287503" y="6529148"/>
            <a:ext cx="2011680" cy="123111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 Services, LLC. 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extBox 16">
            <a:extLst>
              <a:ext uri="{FF2B5EF4-FFF2-40B4-BE49-F238E27FC236}">
                <a16:creationId xmlns:a16="http://schemas.microsoft.com/office/drawing/2014/main" id="{39F4F212-110E-2149-B8E8-D127AAED723B}"/>
              </a:ext>
            </a:extLst>
          </p:cNvPr>
          <p:cNvSpPr txBox="1"/>
          <p:nvPr userDrawn="1"/>
        </p:nvSpPr>
        <p:spPr>
          <a:xfrm>
            <a:off x="7684984" y="6529148"/>
            <a:ext cx="309700" cy="123111"/>
          </a:xfrm>
          <a:prstGeom prst="rect">
            <a:avLst/>
          </a:prstGeom>
          <a:noFill/>
        </p:spPr>
        <p:txBody>
          <a:bodyPr wrap="none" t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9AC1C8-10F2-4A77-9A6E-9375F974715F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79998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_Picture Bottom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52800"/>
            <a:ext cx="12192000" cy="35096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image.</a:t>
            </a:r>
            <a:br>
              <a:rPr lang="en-US"/>
            </a:br>
            <a:r>
              <a:rPr lang="en-US"/>
              <a:t>Then Reorder: Send to back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008BF2A-3887-409B-2567-9779543E991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12192000" cy="1656000"/>
          </a:xfr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Title 5">
            <a:extLst>
              <a:ext uri="{FF2B5EF4-FFF2-40B4-BE49-F238E27FC236}">
                <a16:creationId xmlns:a16="http://schemas.microsoft.com/office/drawing/2014/main" id="{685F5729-4D42-77C1-FCC6-A3E027B0D9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NTT DATA Global Logo" descr="NTT DATA Global Logo">
            <a:extLst>
              <a:ext uri="{FF2B5EF4-FFF2-40B4-BE49-F238E27FC236}">
                <a16:creationId xmlns:a16="http://schemas.microsoft.com/office/drawing/2014/main" id="{331DD0DE-B5CC-A60D-D998-80C96B7B6CAD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800" kern="1200">
                <a:noFill/>
                <a:latin typeface="+mn-lt"/>
                <a:ea typeface="+mn-ea"/>
                <a:cs typeface="+mn-cs"/>
              </a:defRPr>
            </a:lvl2pPr>
            <a:lvl3pPr marL="536575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3pPr>
            <a:lvl4pPr marL="804863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600" kern="1200">
                <a:noFill/>
                <a:latin typeface="+mn-lt"/>
                <a:ea typeface="+mn-ea"/>
                <a:cs typeface="+mn-cs"/>
              </a:defRPr>
            </a:lvl4pPr>
            <a:lvl5pPr marL="1077913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DE"/>
              <a:t>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B62C932-AF62-3EA1-9901-66633B47732F}"/>
              </a:ext>
            </a:extLst>
          </p:cNvPr>
          <p:cNvSpPr txBox="1"/>
          <p:nvPr userDrawn="1"/>
        </p:nvSpPr>
        <p:spPr>
          <a:xfrm>
            <a:off x="371475" y="6529148"/>
            <a:ext cx="1593385" cy="123111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 Services, LLC. 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Box 16">
            <a:extLst>
              <a:ext uri="{FF2B5EF4-FFF2-40B4-BE49-F238E27FC236}">
                <a16:creationId xmlns:a16="http://schemas.microsoft.com/office/drawing/2014/main" id="{4CDFEE80-F12A-94C5-F639-C73AAD24A0A3}"/>
              </a:ext>
            </a:extLst>
          </p:cNvPr>
          <p:cNvSpPr txBox="1"/>
          <p:nvPr userDrawn="1"/>
        </p:nvSpPr>
        <p:spPr>
          <a:xfrm>
            <a:off x="5941150" y="6529148"/>
            <a:ext cx="309700" cy="123111"/>
          </a:xfrm>
          <a:prstGeom prst="rect">
            <a:avLst/>
          </a:prstGeom>
          <a:noFill/>
        </p:spPr>
        <p:txBody>
          <a:bodyPr wrap="none" t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9AC1C8-10F2-4A77-9A6E-9375F974715F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858289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_Picture Collection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877779" y="3987605"/>
            <a:ext cx="5371355" cy="224968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95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Insert photo here</a:t>
            </a:r>
          </a:p>
        </p:txBody>
      </p:sp>
      <p:sp>
        <p:nvSpPr>
          <p:cNvPr id="13" name="Rounded Rectangl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349318" y="2163386"/>
            <a:ext cx="2484125" cy="2675053"/>
          </a:xfrm>
          <a:prstGeom prst="roundRect">
            <a:avLst>
              <a:gd name="adj" fmla="val 0"/>
            </a:avLst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6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71475" y="333373"/>
            <a:ext cx="4419959" cy="3547536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Insert photo here</a:t>
            </a:r>
          </a:p>
        </p:txBody>
      </p:sp>
      <p:sp>
        <p:nvSpPr>
          <p:cNvPr id="14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349318" y="2140170"/>
            <a:ext cx="2484124" cy="268069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Insert photo here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371475" y="2422522"/>
            <a:ext cx="4419959" cy="145838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902048" y="333375"/>
            <a:ext cx="4347085" cy="3555695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lIns="108000" anchor="ctr"/>
          <a:lstStyle>
            <a:lvl1pPr marL="0" indent="0" algn="l">
              <a:lnSpc>
                <a:spcPct val="100000"/>
              </a:lnSpc>
              <a:tabLst/>
              <a:defRPr sz="3200" b="1">
                <a:solidFill>
                  <a:schemeClr val="bg1"/>
                </a:solidFill>
                <a:effectLst/>
                <a:latin typeface="+mn-lt"/>
                <a:cs typeface="Arial"/>
              </a:defRPr>
            </a:lvl1pPr>
            <a:lvl2pPr marL="0" indent="0" algn="l">
              <a:lnSpc>
                <a:spcPct val="100000"/>
              </a:lnSpc>
              <a:defRPr>
                <a:solidFill>
                  <a:schemeClr val="bg1"/>
                </a:solidFill>
                <a:effectLst/>
                <a:latin typeface="+mn-lt"/>
                <a:cs typeface="Arial"/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359747" y="333375"/>
            <a:ext cx="2474100" cy="1700963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9359747" y="3744196"/>
            <a:ext cx="2474099" cy="107666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3987606"/>
            <a:ext cx="3420269" cy="2249682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lIns="108000" anchor="ctr"/>
          <a:lstStyle>
            <a:lvl1pPr algn="l">
              <a:lnSpc>
                <a:spcPct val="100000"/>
              </a:lnSpc>
              <a:defRPr sz="2667" b="1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tx2"/>
                </a:solidFill>
              </a:defRPr>
            </a:lvl2pPr>
            <a:lvl3pPr algn="l">
              <a:defRPr>
                <a:solidFill>
                  <a:schemeClr val="tx2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877779" y="5399590"/>
            <a:ext cx="5371355" cy="837698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9349318" y="4926695"/>
            <a:ext cx="2471207" cy="1310593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BA9505-91C7-B9FF-4651-787D86C3BED1}"/>
              </a:ext>
            </a:extLst>
          </p:cNvPr>
          <p:cNvSpPr txBox="1"/>
          <p:nvPr userDrawn="1"/>
        </p:nvSpPr>
        <p:spPr>
          <a:xfrm>
            <a:off x="3685309" y="-803564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4942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EA9222-DBBF-5953-8E15-DA10C04897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838200"/>
            <a:ext cx="11430000" cy="685800"/>
          </a:xfrm>
        </p:spPr>
        <p:txBody>
          <a:bodyPr>
            <a:noAutofit/>
          </a:bodyPr>
          <a:lstStyle>
            <a:lvl1pPr marL="0" indent="0">
              <a:buNone/>
              <a:defRPr lang="en-US" sz="2000" kern="120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62DF17-A1AB-7E8D-EC34-3A4A87B7B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45720" rIns="0" bIns="45720" rtlCol="0" anchor="t">
            <a:noAutofit/>
          </a:bodyPr>
          <a:lstStyle>
            <a:lvl1pPr>
              <a:defRPr lang="en-US"/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B3B26C9-4CC7-EA8C-EBD1-615FCBB4A9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400800"/>
            <a:ext cx="914400" cy="304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November 20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3161E99-54BE-C3A5-B54E-49B9C7224B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71600" y="6400800"/>
            <a:ext cx="4114800" cy="304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2023 NTT DATA, Inc. | NTT Ltd. and its affiliates are NTT DATA, Inc. companies.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16319C-85FE-4494-FC99-C4DE72E7B9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60D39823-8059-4D49-BD26-6D32C31B8621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456096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_Divider_Image Lef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286000"/>
            <a:ext cx="7315200" cy="3951288"/>
          </a:xfrm>
        </p:spPr>
        <p:txBody>
          <a:bodyPr/>
          <a:lstStyle>
            <a:lvl1pPr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/>
              <a:t>Divider Page Text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#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CBAA2EA5-06E3-8691-22FA-AE783265C86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E201FA-14DE-26F5-5B59-34540918F7C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BBF8745-3236-1922-1640-0A216DDF0140}"/>
              </a:ext>
            </a:extLst>
          </p:cNvPr>
          <p:cNvSpPr txBox="1"/>
          <p:nvPr userDrawn="1"/>
        </p:nvSpPr>
        <p:spPr>
          <a:xfrm>
            <a:off x="4287503" y="6529148"/>
            <a:ext cx="2011680" cy="123111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 Services, LLC. 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Box 16">
            <a:extLst>
              <a:ext uri="{FF2B5EF4-FFF2-40B4-BE49-F238E27FC236}">
                <a16:creationId xmlns:a16="http://schemas.microsoft.com/office/drawing/2014/main" id="{3161EFFE-6A23-5601-2A6E-B9A575703810}"/>
              </a:ext>
            </a:extLst>
          </p:cNvPr>
          <p:cNvSpPr txBox="1"/>
          <p:nvPr userDrawn="1"/>
        </p:nvSpPr>
        <p:spPr>
          <a:xfrm>
            <a:off x="7684984" y="6529148"/>
            <a:ext cx="309700" cy="123111"/>
          </a:xfrm>
          <a:prstGeom prst="rect">
            <a:avLst/>
          </a:prstGeom>
          <a:noFill/>
        </p:spPr>
        <p:txBody>
          <a:bodyPr wrap="none" t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9AC1C8-10F2-4A77-9A6E-9375F974715F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359930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_Divider_InnovationCurve on Righ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2286000"/>
            <a:ext cx="7315200" cy="3886200"/>
          </a:xfrm>
        </p:spPr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/>
              <a:t>Divider Page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#</a:t>
            </a:r>
          </a:p>
        </p:txBody>
      </p:sp>
      <p:pic>
        <p:nvPicPr>
          <p:cNvPr id="17" name="Picture 6">
            <a:extLst>
              <a:ext uri="{FF2B5EF4-FFF2-40B4-BE49-F238E27FC236}">
                <a16:creationId xmlns:a16="http://schemas.microsoft.com/office/drawing/2014/main" id="{8E54CF47-5670-1E36-A01C-CE6BD5FD4E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70773" y="2431973"/>
            <a:ext cx="3740227" cy="3740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86676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_Divider_Innovation Curve Image Lef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725B5FD-E0E9-1E4B-5EFE-D46E0910A6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433116"/>
            <a:ext cx="7315200" cy="3739084"/>
          </a:xfrm>
        </p:spPr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/>
              <a:t>Divider Page</a:t>
            </a:r>
          </a:p>
        </p:txBody>
      </p:sp>
      <p:sp>
        <p:nvSpPr>
          <p:cNvPr id="12" name="Section Number">
            <a:extLst>
              <a:ext uri="{FF2B5EF4-FFF2-40B4-BE49-F238E27FC236}">
                <a16:creationId xmlns:a16="http://schemas.microsoft.com/office/drawing/2014/main" id="{4337322C-F1A6-A8D5-2662-80C365ECE1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#</a:t>
            </a:r>
          </a:p>
        </p:txBody>
      </p:sp>
      <p:pic>
        <p:nvPicPr>
          <p:cNvPr id="14" name="Picture 6">
            <a:extLst>
              <a:ext uri="{FF2B5EF4-FFF2-40B4-BE49-F238E27FC236}">
                <a16:creationId xmlns:a16="http://schemas.microsoft.com/office/drawing/2014/main" id="{AE44EF5E-6648-1398-B4E7-717D749EE9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575" y="2447060"/>
            <a:ext cx="3718800" cy="3718800"/>
          </a:xfrm>
          <a:prstGeom prst="rect">
            <a:avLst/>
          </a:prstGeom>
        </p:spPr>
      </p:pic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C74CB7FF-BF38-583F-EB84-775D76F699B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71475" y="2447060"/>
            <a:ext cx="3718800" cy="3718800"/>
          </a:xfrm>
          <a:custGeom>
            <a:avLst/>
            <a:gdLst>
              <a:gd name="connsiteX0" fmla="*/ 1704548 w 5267271"/>
              <a:gd name="connsiteY0" fmla="*/ 0 h 5272719"/>
              <a:gd name="connsiteX1" fmla="*/ 3527745 w 5267271"/>
              <a:gd name="connsiteY1" fmla="*/ 1774521 h 5272719"/>
              <a:gd name="connsiteX2" fmla="*/ 5267271 w 5267271"/>
              <a:gd name="connsiteY2" fmla="*/ 5269498 h 5272719"/>
              <a:gd name="connsiteX3" fmla="*/ 3509088 w 5267271"/>
              <a:gd name="connsiteY3" fmla="*/ 5269044 h 5272719"/>
              <a:gd name="connsiteX4" fmla="*/ 1794302 w 5267271"/>
              <a:gd name="connsiteY4" fmla="*/ 1858626 h 5272719"/>
              <a:gd name="connsiteX5" fmla="*/ 1794667 w 5267271"/>
              <a:gd name="connsiteY5" fmla="*/ 5270472 h 5272719"/>
              <a:gd name="connsiteX6" fmla="*/ 0 w 5267271"/>
              <a:gd name="connsiteY6" fmla="*/ 5272719 h 5272719"/>
              <a:gd name="connsiteX7" fmla="*/ 3384 w 5267271"/>
              <a:gd name="connsiteY7" fmla="*/ 1714773 h 5272719"/>
              <a:gd name="connsiteX8" fmla="*/ 569360 w 5267271"/>
              <a:gd name="connsiteY8" fmla="*/ 333790 h 5272719"/>
              <a:gd name="connsiteX9" fmla="*/ 1704548 w 5267271"/>
              <a:gd name="connsiteY9" fmla="*/ 0 h 5272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67271" h="5272719">
                <a:moveTo>
                  <a:pt x="1704548" y="0"/>
                </a:moveTo>
                <a:cubicBezTo>
                  <a:pt x="2442328" y="19929"/>
                  <a:pt x="2925708" y="438914"/>
                  <a:pt x="3527745" y="1774521"/>
                </a:cubicBezTo>
                <a:lnTo>
                  <a:pt x="5267271" y="5269498"/>
                </a:lnTo>
                <a:lnTo>
                  <a:pt x="3509088" y="5269044"/>
                </a:lnTo>
                <a:cubicBezTo>
                  <a:pt x="2932089" y="4085847"/>
                  <a:pt x="2376159" y="3052885"/>
                  <a:pt x="1794302" y="1858626"/>
                </a:cubicBezTo>
                <a:cubicBezTo>
                  <a:pt x="1800510" y="2806405"/>
                  <a:pt x="1797959" y="3550976"/>
                  <a:pt x="1794667" y="5270472"/>
                </a:cubicBezTo>
                <a:lnTo>
                  <a:pt x="0" y="5272719"/>
                </a:lnTo>
                <a:cubicBezTo>
                  <a:pt x="6041" y="3933998"/>
                  <a:pt x="-2660" y="3106972"/>
                  <a:pt x="3384" y="1714773"/>
                </a:cubicBezTo>
                <a:cubicBezTo>
                  <a:pt x="20552" y="931022"/>
                  <a:pt x="285832" y="562108"/>
                  <a:pt x="569360" y="333790"/>
                </a:cubicBezTo>
                <a:cubicBezTo>
                  <a:pt x="852888" y="105472"/>
                  <a:pt x="1272212" y="9538"/>
                  <a:pt x="1704548" y="0"/>
                </a:cubicBezTo>
                <a:close/>
              </a:path>
            </a:pathLst>
          </a:custGeom>
          <a:solidFill>
            <a:schemeClr val="accent6"/>
          </a:solidFill>
          <a:ln w="12700">
            <a:noFill/>
          </a:ln>
          <a:effectLst/>
        </p:spPr>
        <p:txBody>
          <a:bodyPr wrap="none" lIns="0" tIns="1371600" rIns="0" anchor="t">
            <a:noAutofit/>
          </a:bodyPr>
          <a:lstStyle>
            <a:lvl1pPr marL="0" indent="0" algn="ctr">
              <a:buFontTx/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15729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0"/>
          <p:cNvSpPr/>
          <p:nvPr userDrawn="1"/>
        </p:nvSpPr>
        <p:spPr>
          <a:xfrm>
            <a:off x="0" y="0"/>
            <a:ext cx="12192000" cy="79363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4024" tIns="42012" rIns="84024" bIns="42012" rtlCol="0" anchor="ctr">
            <a:norm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811976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ー 2"/>
          <p:cNvSpPr>
            <a:spLocks noGrp="1"/>
          </p:cNvSpPr>
          <p:nvPr>
            <p:ph idx="1" hasCustomPrompt="1"/>
          </p:nvPr>
        </p:nvSpPr>
        <p:spPr>
          <a:xfrm>
            <a:off x="2849316" y="1066800"/>
            <a:ext cx="8802689" cy="5098330"/>
          </a:xfrm>
          <a:prstGeom prst="rect">
            <a:avLst/>
          </a:prstGeom>
        </p:spPr>
        <p:txBody>
          <a:bodyPr lIns="183600" rIns="183600"/>
          <a:lstStyle>
            <a:lvl1pPr marL="0" indent="0" fontAlgn="ctr">
              <a:spcBef>
                <a:spcPts val="0"/>
              </a:spcBef>
              <a:spcAft>
                <a:spcPts val="0"/>
              </a:spcAft>
              <a:buFontTx/>
              <a:buNone/>
              <a:defRPr sz="2000" b="0" i="0" spc="100" baseline="0">
                <a:solidFill>
                  <a:schemeClr val="tx1"/>
                </a:solidFill>
                <a:latin typeface="+mn-lt"/>
                <a:ea typeface="HGPGothicE" charset="-128"/>
                <a:cs typeface="HGPGothicE" charset="-128"/>
              </a:defRPr>
            </a:lvl1pPr>
            <a:lvl2pPr marL="609555" indent="0" fontAlgn="ctr">
              <a:spcBef>
                <a:spcPts val="0"/>
              </a:spcBef>
              <a:spcAft>
                <a:spcPts val="0"/>
              </a:spcAft>
              <a:buFontTx/>
              <a:buNone/>
              <a:defRPr sz="2000" b="0" i="0" spc="100">
                <a:solidFill>
                  <a:schemeClr val="tx1"/>
                </a:solidFill>
                <a:latin typeface="HGPGothicE" charset="-128"/>
                <a:ea typeface="HGPGothicE" charset="-128"/>
                <a:cs typeface="HGPGothicE" charset="-128"/>
              </a:defRPr>
            </a:lvl2pPr>
            <a:lvl3pPr marL="1219108" indent="0" fontAlgn="ctr">
              <a:spcBef>
                <a:spcPts val="0"/>
              </a:spcBef>
              <a:spcAft>
                <a:spcPts val="0"/>
              </a:spcAft>
              <a:buFontTx/>
              <a:buNone/>
              <a:defRPr sz="2000" b="0" i="0" spc="100">
                <a:solidFill>
                  <a:schemeClr val="tx1"/>
                </a:solidFill>
                <a:latin typeface="HGPGothicE" charset="-128"/>
                <a:ea typeface="HGPGothicE" charset="-128"/>
                <a:cs typeface="HGPGothicE" charset="-128"/>
              </a:defRPr>
            </a:lvl3pPr>
            <a:lvl4pPr marL="1828664" indent="0">
              <a:buFontTx/>
              <a:buNone/>
              <a:defRPr>
                <a:solidFill>
                  <a:schemeClr val="tx2"/>
                </a:solidFill>
              </a:defRPr>
            </a:lvl4pPr>
            <a:lvl5pPr marL="2438218" indent="0">
              <a:buFontTx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kumimoji="1" lang="en-US" altLang="ja-JP"/>
              <a:t>Click and enter text.</a:t>
            </a:r>
            <a:endParaRPr kumimoji="1" lang="ja-JP" altLang="en-US"/>
          </a:p>
        </p:txBody>
      </p:sp>
      <p:pic>
        <p:nvPicPr>
          <p:cNvPr id="9" name="図 8"/>
          <p:cNvPicPr>
            <a:picLocks noChangeAspect="1"/>
          </p:cNvPicPr>
          <p:nvPr userDrawn="1"/>
        </p:nvPicPr>
        <p:blipFill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 flipV="1">
            <a:off x="10111829" y="0"/>
            <a:ext cx="2080171" cy="3744310"/>
          </a:xfrm>
          <a:prstGeom prst="rect">
            <a:avLst/>
          </a:prstGeom>
        </p:spPr>
      </p:pic>
      <p:sp>
        <p:nvSpPr>
          <p:cNvPr id="14" name="TextBox 16"/>
          <p:cNvSpPr txBox="1"/>
          <p:nvPr userDrawn="1"/>
        </p:nvSpPr>
        <p:spPr>
          <a:xfrm>
            <a:off x="5761153" y="6551482"/>
            <a:ext cx="670231" cy="184666"/>
          </a:xfrm>
          <a:prstGeom prst="rect">
            <a:avLst/>
          </a:prstGeom>
          <a:noFill/>
        </p:spPr>
        <p:txBody>
          <a:bodyPr wrap="square" tIns="0" b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0F9AC1C8-10F2-4A77-9A6E-9375F974715F}" type="slidenum">
              <a:rPr lang="en-US" sz="1200" b="0" i="0">
                <a:solidFill>
                  <a:schemeClr val="tx1"/>
                </a:solidFill>
                <a:latin typeface="+mn-lt"/>
                <a:ea typeface="HGPGothicE" charset="-128"/>
                <a:cs typeface="HGPGothicE" charset="-128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200" b="0" i="0">
              <a:solidFill>
                <a:schemeClr val="tx1"/>
              </a:solidFill>
              <a:latin typeface="+mn-lt"/>
              <a:ea typeface="HGPGothicE" charset="-128"/>
              <a:cs typeface="HGPGothicE" charset="-128"/>
            </a:endParaRPr>
          </a:p>
        </p:txBody>
      </p:sp>
      <p:sp>
        <p:nvSpPr>
          <p:cNvPr id="7" name="TextBox 12"/>
          <p:cNvSpPr txBox="1"/>
          <p:nvPr userDrawn="1"/>
        </p:nvSpPr>
        <p:spPr>
          <a:xfrm>
            <a:off x="9753600" y="6597352"/>
            <a:ext cx="2295279" cy="123111"/>
          </a:xfrm>
          <a:prstGeom prst="rect">
            <a:avLst/>
          </a:prstGeom>
          <a:noFill/>
        </p:spPr>
        <p:txBody>
          <a:bodyPr wrap="square" tIns="0" bIns="0">
            <a:spAutoFit/>
          </a:bodyPr>
          <a:lstStyle/>
          <a:p>
            <a:pPr marL="0" marR="0" indent="0" algn="r" defTabSz="6095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>
                <a:solidFill>
                  <a:schemeClr val="tx1"/>
                </a:solidFill>
                <a:latin typeface="+mn-lt"/>
                <a:ea typeface="HGPGothicE" charset="-128"/>
                <a:cs typeface="Meiryo UI" pitchFamily="50" charset="-128"/>
              </a:rPr>
              <a:t>© 2021 NTT DATA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3736" y="0"/>
            <a:ext cx="10515600" cy="722376"/>
          </a:xfrm>
          <a:prstGeom prst="rect">
            <a:avLst/>
          </a:prstGeom>
        </p:spPr>
        <p:txBody>
          <a:bodyPr tIns="109728" anchor="ctr"/>
          <a:lstStyle>
            <a:lvl1pPr marL="226468" marR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 kumimoji="1" lang="en-US" sz="2400" kern="1200" spc="0" baseline="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marL="226468" marR="0" lvl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227337352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s - BF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タイトル 1"/>
          <p:cNvSpPr>
            <a:spLocks noGrp="1"/>
          </p:cNvSpPr>
          <p:nvPr>
            <p:ph type="title" hasCustomPrompt="1"/>
          </p:nvPr>
        </p:nvSpPr>
        <p:spPr>
          <a:xfrm>
            <a:off x="228601" y="228600"/>
            <a:ext cx="11734799" cy="533400"/>
          </a:xfrm>
          <a:prstGeom prst="rect">
            <a:avLst/>
          </a:prstGeom>
        </p:spPr>
        <p:txBody>
          <a:bodyPr lIns="91440" tIns="0" bIns="0" anchor="t" anchorCtr="0">
            <a:noAutofit/>
          </a:bodyPr>
          <a:lstStyle>
            <a:lvl1pPr>
              <a:defRPr lang="en-US" altLang="ja-JP" spc="0" dirty="0" smtClean="0">
                <a:solidFill>
                  <a:schemeClr val="tx1"/>
                </a:solidFill>
                <a:latin typeface="+mj-ea"/>
                <a:ea typeface="+mj-ea"/>
                <a:cs typeface="Arial"/>
              </a:defRPr>
            </a:lvl1pPr>
          </a:lstStyle>
          <a:p>
            <a:pPr marL="226468" marR="0" lvl="0" indent="-226468" latinLnBrk="0">
              <a:lnSpc>
                <a:spcPct val="100000"/>
              </a:lnSpc>
              <a:spcBef>
                <a:spcPct val="20000"/>
              </a:spcBef>
              <a:buClrTx/>
              <a:buSzTx/>
              <a:buFont typeface="+mj-lt"/>
              <a:buNone/>
              <a:tabLst/>
            </a:pPr>
            <a:r>
              <a:rPr kumimoji="1" lang="en-US" altLang="ja-JP"/>
              <a:t>[Title]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A6E617D-734F-4979-AA28-151FD13FA13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48A4EEE-264C-42B7-9C67-2AF5171A4FA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C0E1A09D-4386-4027-B225-F549DC0B41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8601" y="1066800"/>
            <a:ext cx="11734799" cy="50292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845937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80">
          <p15:clr>
            <a:srgbClr val="FBAE40"/>
          </p15:clr>
        </p15:guide>
        <p15:guide id="2" pos="144">
          <p15:clr>
            <a:srgbClr val="FBAE40"/>
          </p15:clr>
        </p15:guide>
        <p15:guide id="3" pos="7536">
          <p15:clr>
            <a:srgbClr val="FBAE40"/>
          </p15:clr>
        </p15:guide>
        <p15:guide id="4" orient="horz" pos="144">
          <p15:clr>
            <a:srgbClr val="FBAE40"/>
          </p15:clr>
        </p15:guide>
        <p15:guide id="6" pos="3840">
          <p15:clr>
            <a:srgbClr val="FBAE40"/>
          </p15:clr>
        </p15:guide>
        <p15:guide id="7" orient="horz" pos="3840">
          <p15:clr>
            <a:srgbClr val="FBAE40"/>
          </p15:clr>
        </p15:guide>
        <p15:guide id="8" orient="horz" pos="2256">
          <p15:clr>
            <a:srgbClr val="FBAE40"/>
          </p15:clr>
        </p15:guide>
        <p15:guide id="9" orient="horz" pos="672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テキスト プレースホルダー 9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" y="2902"/>
            <a:ext cx="11844000" cy="720000"/>
          </a:xfrm>
          <a:prstGeom prst="rect">
            <a:avLst/>
          </a:prstGeom>
        </p:spPr>
        <p:txBody>
          <a:bodyPr tIns="108000" anchor="ctr" anchorCtr="0">
            <a:normAutofit/>
          </a:bodyPr>
          <a:lstStyle>
            <a:lvl1pPr marL="0" indent="0">
              <a:buFont typeface="+mj-lt"/>
              <a:buNone/>
              <a:defRPr sz="2400" baseline="0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marL="226468" marR="0" lvl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80999411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Image Slide - BF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5">
            <a:extLst>
              <a:ext uri="{FF2B5EF4-FFF2-40B4-BE49-F238E27FC236}">
                <a16:creationId xmlns:a16="http://schemas.microsoft.com/office/drawing/2014/main" id="{580AF351-5E3F-4D4F-B815-A3641CC4C1B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4E9DA52-4E40-491D-BA4C-899F8CADB9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555"/>
            <a:r>
              <a:rPr lang="en-US"/>
              <a:t>© 2023 NTT DATA Americas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AB899D-0E58-43A5-A90C-0F2D79E5B9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142297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09441" y="1066800"/>
            <a:ext cx="10969943" cy="51054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テキスト プレースホルダー 9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" y="2902"/>
            <a:ext cx="11844000" cy="720000"/>
          </a:xfrm>
          <a:prstGeom prst="rect">
            <a:avLst/>
          </a:prstGeom>
        </p:spPr>
        <p:txBody>
          <a:bodyPr tIns="108000" anchor="ctr" anchorCtr="0">
            <a:normAutofit/>
          </a:bodyPr>
          <a:lstStyle>
            <a:lvl1pPr marL="0" indent="0">
              <a:buFont typeface="+mj-lt"/>
              <a:buNone/>
              <a:defRPr sz="2400" baseline="0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marL="226468" marR="0" lvl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408615424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Light_Full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nnovation Curve">
            <a:extLst>
              <a:ext uri="{FF2B5EF4-FFF2-40B4-BE49-F238E27FC236}">
                <a16:creationId xmlns:a16="http://schemas.microsoft.com/office/drawing/2014/main" id="{9211F747-506E-5ED4-9B68-EE6B3F99C9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alphaModFix amt="3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4000" y="-14748"/>
            <a:ext cx="6872748" cy="6872748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1506BD0E-4DCD-8BA9-2037-DE975A1F091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484346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DD68B773-8219-9567-613E-7A2F2D4F6C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4843462" cy="353943"/>
          </a:xfr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/>
              <a:t>Click to edit Master subtitle style</a:t>
            </a:r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9B553D8-6E2B-127F-58DE-5165236A2DF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pPr algn="r"/>
            <a:r>
              <a:rPr lang="en-DE"/>
              <a:t>Date</a:t>
            </a:r>
            <a:endParaRPr lang="en-US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453B208-9097-2E2C-EC03-BD8A676700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pt-BR"/>
              <a:t>© 2023 NTT DATA Americas, Inc.</a:t>
            </a:r>
            <a:endParaRPr lang="en-US"/>
          </a:p>
        </p:txBody>
      </p:sp>
      <p:pic>
        <p:nvPicPr>
          <p:cNvPr id="4" name="NTT DATA Global Logo" descr="NTT DATA Logo">
            <a:extLst>
              <a:ext uri="{FF2B5EF4-FFF2-40B4-BE49-F238E27FC236}">
                <a16:creationId xmlns:a16="http://schemas.microsoft.com/office/drawing/2014/main" id="{07CD756B-D053-7A46-EC8E-FF1D6BF1F70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  <p:sp>
        <p:nvSpPr>
          <p:cNvPr id="7" name="Info Box">
            <a:extLst>
              <a:ext uri="{FF2B5EF4-FFF2-40B4-BE49-F238E27FC236}">
                <a16:creationId xmlns:a16="http://schemas.microsoft.com/office/drawing/2014/main" id="{3CC8FA91-A78C-BC6E-F17A-FF26055644B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0101235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Information Type:</a:t>
            </a:r>
            <a:br>
              <a:rPr lang="en-US" noProof="0"/>
            </a:br>
            <a:r>
              <a:rPr lang="en-US" noProof="0"/>
              <a:t>Company:  </a:t>
            </a:r>
            <a:br>
              <a:rPr lang="en-US" noProof="0"/>
            </a:br>
            <a:r>
              <a:rPr lang="en-US" noProof="0"/>
              <a:t>Information Owner:</a:t>
            </a:r>
          </a:p>
        </p:txBody>
      </p:sp>
    </p:spTree>
    <p:extLst>
      <p:ext uri="{BB962C8B-B14F-4D97-AF65-F5344CB8AC3E}">
        <p14:creationId xmlns:p14="http://schemas.microsoft.com/office/powerpoint/2010/main" val="3730349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image" Target="../media/image6.emf"/><Relationship Id="rId2" Type="http://schemas.openxmlformats.org/officeDocument/2006/relationships/slideLayout" Target="../slideLayouts/slideLayout6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image" Target="../media/image10.svg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image" Target="../media/image9.png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55.xml"/><Relationship Id="rId21" Type="http://schemas.openxmlformats.org/officeDocument/2006/relationships/slideLayout" Target="../slideLayouts/slideLayout50.xml"/><Relationship Id="rId42" Type="http://schemas.openxmlformats.org/officeDocument/2006/relationships/slideLayout" Target="../slideLayouts/slideLayout71.xml"/><Relationship Id="rId47" Type="http://schemas.openxmlformats.org/officeDocument/2006/relationships/slideLayout" Target="../slideLayouts/slideLayout76.xml"/><Relationship Id="rId63" Type="http://schemas.openxmlformats.org/officeDocument/2006/relationships/slideLayout" Target="../slideLayouts/slideLayout92.xml"/><Relationship Id="rId68" Type="http://schemas.openxmlformats.org/officeDocument/2006/relationships/slideLayout" Target="../slideLayouts/slideLayout97.xml"/><Relationship Id="rId7" Type="http://schemas.openxmlformats.org/officeDocument/2006/relationships/slideLayout" Target="../slideLayouts/slideLayout36.xml"/><Relationship Id="rId71" Type="http://schemas.openxmlformats.org/officeDocument/2006/relationships/image" Target="../media/image9.png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9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40.xml"/><Relationship Id="rId24" Type="http://schemas.openxmlformats.org/officeDocument/2006/relationships/slideLayout" Target="../slideLayouts/slideLayout53.xml"/><Relationship Id="rId32" Type="http://schemas.openxmlformats.org/officeDocument/2006/relationships/slideLayout" Target="../slideLayouts/slideLayout61.xml"/><Relationship Id="rId37" Type="http://schemas.openxmlformats.org/officeDocument/2006/relationships/slideLayout" Target="../slideLayouts/slideLayout66.xml"/><Relationship Id="rId40" Type="http://schemas.openxmlformats.org/officeDocument/2006/relationships/slideLayout" Target="../slideLayouts/slideLayout69.xml"/><Relationship Id="rId45" Type="http://schemas.openxmlformats.org/officeDocument/2006/relationships/slideLayout" Target="../slideLayouts/slideLayout74.xml"/><Relationship Id="rId53" Type="http://schemas.openxmlformats.org/officeDocument/2006/relationships/slideLayout" Target="../slideLayouts/slideLayout82.xml"/><Relationship Id="rId58" Type="http://schemas.openxmlformats.org/officeDocument/2006/relationships/slideLayout" Target="../slideLayouts/slideLayout87.xml"/><Relationship Id="rId66" Type="http://schemas.openxmlformats.org/officeDocument/2006/relationships/slideLayout" Target="../slideLayouts/slideLayout95.xml"/><Relationship Id="rId5" Type="http://schemas.openxmlformats.org/officeDocument/2006/relationships/slideLayout" Target="../slideLayouts/slideLayout34.xml"/><Relationship Id="rId61" Type="http://schemas.openxmlformats.org/officeDocument/2006/relationships/slideLayout" Target="../slideLayouts/slideLayout90.xml"/><Relationship Id="rId1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Relationship Id="rId27" Type="http://schemas.openxmlformats.org/officeDocument/2006/relationships/slideLayout" Target="../slideLayouts/slideLayout56.xml"/><Relationship Id="rId30" Type="http://schemas.openxmlformats.org/officeDocument/2006/relationships/slideLayout" Target="../slideLayouts/slideLayout59.xml"/><Relationship Id="rId35" Type="http://schemas.openxmlformats.org/officeDocument/2006/relationships/slideLayout" Target="../slideLayouts/slideLayout64.xml"/><Relationship Id="rId43" Type="http://schemas.openxmlformats.org/officeDocument/2006/relationships/slideLayout" Target="../slideLayouts/slideLayout72.xml"/><Relationship Id="rId48" Type="http://schemas.openxmlformats.org/officeDocument/2006/relationships/slideLayout" Target="../slideLayouts/slideLayout77.xml"/><Relationship Id="rId56" Type="http://schemas.openxmlformats.org/officeDocument/2006/relationships/slideLayout" Target="../slideLayouts/slideLayout85.xml"/><Relationship Id="rId64" Type="http://schemas.openxmlformats.org/officeDocument/2006/relationships/slideLayout" Target="../slideLayouts/slideLayout93.xml"/><Relationship Id="rId69" Type="http://schemas.openxmlformats.org/officeDocument/2006/relationships/slideLayout" Target="../slideLayouts/slideLayout98.xml"/><Relationship Id="rId8" Type="http://schemas.openxmlformats.org/officeDocument/2006/relationships/slideLayout" Target="../slideLayouts/slideLayout37.xml"/><Relationship Id="rId51" Type="http://schemas.openxmlformats.org/officeDocument/2006/relationships/slideLayout" Target="../slideLayouts/slideLayout80.xml"/><Relationship Id="rId72" Type="http://schemas.openxmlformats.org/officeDocument/2006/relationships/image" Target="../media/image10.svg"/><Relationship Id="rId3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slideLayout" Target="../slideLayouts/slideLayout54.xml"/><Relationship Id="rId33" Type="http://schemas.openxmlformats.org/officeDocument/2006/relationships/slideLayout" Target="../slideLayouts/slideLayout62.xml"/><Relationship Id="rId38" Type="http://schemas.openxmlformats.org/officeDocument/2006/relationships/slideLayout" Target="../slideLayouts/slideLayout67.xml"/><Relationship Id="rId46" Type="http://schemas.openxmlformats.org/officeDocument/2006/relationships/slideLayout" Target="../slideLayouts/slideLayout75.xml"/><Relationship Id="rId59" Type="http://schemas.openxmlformats.org/officeDocument/2006/relationships/slideLayout" Target="../slideLayouts/slideLayout88.xml"/><Relationship Id="rId67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49.xml"/><Relationship Id="rId41" Type="http://schemas.openxmlformats.org/officeDocument/2006/relationships/slideLayout" Target="../slideLayouts/slideLayout70.xml"/><Relationship Id="rId54" Type="http://schemas.openxmlformats.org/officeDocument/2006/relationships/slideLayout" Target="../slideLayouts/slideLayout83.xml"/><Relationship Id="rId62" Type="http://schemas.openxmlformats.org/officeDocument/2006/relationships/slideLayout" Target="../slideLayouts/slideLayout91.xml"/><Relationship Id="rId70" Type="http://schemas.openxmlformats.org/officeDocument/2006/relationships/theme" Target="../theme/theme4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4.xml"/><Relationship Id="rId23" Type="http://schemas.openxmlformats.org/officeDocument/2006/relationships/slideLayout" Target="../slideLayouts/slideLayout52.xml"/><Relationship Id="rId28" Type="http://schemas.openxmlformats.org/officeDocument/2006/relationships/slideLayout" Target="../slideLayouts/slideLayout57.xml"/><Relationship Id="rId36" Type="http://schemas.openxmlformats.org/officeDocument/2006/relationships/slideLayout" Target="../slideLayouts/slideLayout65.xml"/><Relationship Id="rId49" Type="http://schemas.openxmlformats.org/officeDocument/2006/relationships/slideLayout" Target="../slideLayouts/slideLayout78.xml"/><Relationship Id="rId57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39.xml"/><Relationship Id="rId31" Type="http://schemas.openxmlformats.org/officeDocument/2006/relationships/slideLayout" Target="../slideLayouts/slideLayout60.xml"/><Relationship Id="rId44" Type="http://schemas.openxmlformats.org/officeDocument/2006/relationships/slideLayout" Target="../slideLayouts/slideLayout73.xml"/><Relationship Id="rId52" Type="http://schemas.openxmlformats.org/officeDocument/2006/relationships/slideLayout" Target="../slideLayouts/slideLayout81.xml"/><Relationship Id="rId60" Type="http://schemas.openxmlformats.org/officeDocument/2006/relationships/slideLayout" Target="../slideLayouts/slideLayout89.xml"/><Relationship Id="rId65" Type="http://schemas.openxmlformats.org/officeDocument/2006/relationships/slideLayout" Target="../slideLayouts/slideLayout94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9" Type="http://schemas.openxmlformats.org/officeDocument/2006/relationships/slideLayout" Target="../slideLayouts/slideLayout68.xml"/><Relationship Id="rId34" Type="http://schemas.openxmlformats.org/officeDocument/2006/relationships/slideLayout" Target="../slideLayouts/slideLayout63.xml"/><Relationship Id="rId50" Type="http://schemas.openxmlformats.org/officeDocument/2006/relationships/slideLayout" Target="../slideLayouts/slideLayout79.xml"/><Relationship Id="rId55" Type="http://schemas.openxmlformats.org/officeDocument/2006/relationships/slideLayout" Target="../slideLayouts/slideLayout8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13" Type="http://schemas.openxmlformats.org/officeDocument/2006/relationships/slideLayout" Target="../slideLayouts/slideLayout111.xml"/><Relationship Id="rId18" Type="http://schemas.openxmlformats.org/officeDocument/2006/relationships/slideLayout" Target="../slideLayouts/slideLayout116.xml"/><Relationship Id="rId26" Type="http://schemas.openxmlformats.org/officeDocument/2006/relationships/slideLayout" Target="../slideLayouts/slideLayout124.xml"/><Relationship Id="rId3" Type="http://schemas.openxmlformats.org/officeDocument/2006/relationships/slideLayout" Target="../slideLayouts/slideLayout101.xml"/><Relationship Id="rId21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05.xml"/><Relationship Id="rId12" Type="http://schemas.openxmlformats.org/officeDocument/2006/relationships/slideLayout" Target="../slideLayouts/slideLayout110.xml"/><Relationship Id="rId17" Type="http://schemas.openxmlformats.org/officeDocument/2006/relationships/slideLayout" Target="../slideLayouts/slideLayout115.xml"/><Relationship Id="rId25" Type="http://schemas.openxmlformats.org/officeDocument/2006/relationships/slideLayout" Target="../slideLayouts/slideLayout123.xml"/><Relationship Id="rId2" Type="http://schemas.openxmlformats.org/officeDocument/2006/relationships/slideLayout" Target="../slideLayouts/slideLayout100.xml"/><Relationship Id="rId16" Type="http://schemas.openxmlformats.org/officeDocument/2006/relationships/slideLayout" Target="../slideLayouts/slideLayout114.xml"/><Relationship Id="rId20" Type="http://schemas.openxmlformats.org/officeDocument/2006/relationships/slideLayout" Target="../slideLayouts/slideLayout118.xml"/><Relationship Id="rId29" Type="http://schemas.openxmlformats.org/officeDocument/2006/relationships/image" Target="../media/image9.png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slideLayout" Target="../slideLayouts/slideLayout109.xml"/><Relationship Id="rId24" Type="http://schemas.openxmlformats.org/officeDocument/2006/relationships/slideLayout" Target="../slideLayouts/slideLayout122.xml"/><Relationship Id="rId5" Type="http://schemas.openxmlformats.org/officeDocument/2006/relationships/slideLayout" Target="../slideLayouts/slideLayout103.xml"/><Relationship Id="rId15" Type="http://schemas.openxmlformats.org/officeDocument/2006/relationships/slideLayout" Target="../slideLayouts/slideLayout113.xml"/><Relationship Id="rId23" Type="http://schemas.openxmlformats.org/officeDocument/2006/relationships/slideLayout" Target="../slideLayouts/slideLayout121.xml"/><Relationship Id="rId28" Type="http://schemas.openxmlformats.org/officeDocument/2006/relationships/theme" Target="../theme/theme5.xml"/><Relationship Id="rId10" Type="http://schemas.openxmlformats.org/officeDocument/2006/relationships/slideLayout" Target="../slideLayouts/slideLayout108.xml"/><Relationship Id="rId19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Relationship Id="rId14" Type="http://schemas.openxmlformats.org/officeDocument/2006/relationships/slideLayout" Target="../slideLayouts/slideLayout112.xml"/><Relationship Id="rId22" Type="http://schemas.openxmlformats.org/officeDocument/2006/relationships/slideLayout" Target="../slideLayouts/slideLayout120.xml"/><Relationship Id="rId27" Type="http://schemas.openxmlformats.org/officeDocument/2006/relationships/slideLayout" Target="../slideLayouts/slideLayout125.xml"/><Relationship Id="rId30" Type="http://schemas.openxmlformats.org/officeDocument/2006/relationships/image" Target="../media/image10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874404F-43CD-40C8-B408-4B36050B40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33375"/>
            <a:ext cx="11449050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7B7396-CF44-41A3-ABC7-B95299F0C0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pt-BR"/>
              <a:t>© 2025 NTT DATA Inc.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603A65-CACD-4E1E-A1C2-FC8F9891C1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DB22E3CC-1B88-CF67-AD2F-D65E37E3716E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NTT DATA Global Logo">
            <a:extLst>
              <a:ext uri="{FF2B5EF4-FFF2-40B4-BE49-F238E27FC236}">
                <a16:creationId xmlns:a16="http://schemas.microsoft.com/office/drawing/2014/main" id="{D3B22713-AB91-EF03-7CF0-CCF486815A3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531554" y="6449745"/>
            <a:ext cx="1288971" cy="26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5078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>
          <a:solidFill>
            <a:schemeClr val="bg1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lang="en-US" sz="1800" kern="1200" dirty="0">
          <a:solidFill>
            <a:schemeClr val="bg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•"/>
        <a:defRPr lang="en-US" sz="1800" kern="1200" dirty="0">
          <a:solidFill>
            <a:schemeClr val="bg1"/>
          </a:solidFill>
          <a:latin typeface="+mn-lt"/>
          <a:ea typeface="+mn-ea"/>
          <a:cs typeface="+mn-cs"/>
        </a:defRPr>
      </a:lvl2pPr>
      <a:lvl3pPr marL="536575" indent="-268288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»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3pPr>
      <a:lvl4pPr marL="804863" indent="-268288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•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4pPr>
      <a:lvl5pPr marL="1077913" indent="-273050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»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>
          <p15:clr>
            <a:srgbClr val="F26B43"/>
          </p15:clr>
        </p15:guide>
        <p15:guide id="3" orient="horz" pos="890">
          <p15:clr>
            <a:srgbClr val="F26B43"/>
          </p15:clr>
        </p15:guide>
        <p15:guide id="4" orient="horz" pos="3929">
          <p15:clr>
            <a:srgbClr val="F26B43"/>
          </p15:clr>
        </p15:guide>
        <p15:guide id="5" pos="234">
          <p15:clr>
            <a:srgbClr val="F26B43"/>
          </p15:clr>
        </p15:guide>
        <p15:guide id="6" pos="3840">
          <p15:clr>
            <a:srgbClr val="F26B43"/>
          </p15:clr>
        </p15:guide>
        <p15:guide id="8" pos="744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58B6C5C-7D83-06BB-37D5-E8421B098A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145316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78" imgH="377" progId="TCLayout.ActiveDocument.1">
                  <p:embed/>
                </p:oleObj>
              </mc:Choice>
              <mc:Fallback>
                <p:oleObj name="think-cell Slide" r:id="rId16" imgW="378" imgH="377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B6C5C-7D83-06BB-37D5-E8421B098A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64DB4C7-535B-ACE9-FD48-E216483B58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04801"/>
            <a:ext cx="11430000" cy="533399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en-US" noProof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15ACC7-9813-39D4-E0E6-4E62A19476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371600"/>
            <a:ext cx="11430000" cy="487680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0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9A58B4-77D9-E987-C197-DA4CB60F70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62600" y="6400800"/>
            <a:ext cx="1066800" cy="304800"/>
          </a:xfrm>
          <a:prstGeom prst="rect">
            <a:avLst/>
          </a:prstGeom>
          <a:ln w="3175">
            <a:noFill/>
          </a:ln>
        </p:spPr>
        <p:txBody>
          <a:bodyPr anchor="ctr"/>
          <a:lstStyle>
            <a:lvl1pPr>
              <a:defRPr lang="en-US" sz="800" b="0" i="0" smtClean="0">
                <a:solidFill>
                  <a:schemeClr val="bg1"/>
                </a:solidFill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pPr algn="ctr"/>
            <a:fld id="{60D39823-8059-4D49-BD26-6D32C31B8621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7" name="NTT DATA Global Logo">
            <a:extLst>
              <a:ext uri="{FF2B5EF4-FFF2-40B4-BE49-F238E27FC236}">
                <a16:creationId xmlns:a16="http://schemas.microsoft.com/office/drawing/2014/main" id="{E4A297F2-4804-B5AA-637C-78C8A88550D2}"/>
              </a:ext>
            </a:extLst>
          </p:cNvPr>
          <p:cNvSpPr/>
          <p:nvPr userDrawn="1"/>
        </p:nvSpPr>
        <p:spPr bwMode="black">
          <a:xfrm>
            <a:off x="10588752" y="6428232"/>
            <a:ext cx="1211639" cy="246888"/>
          </a:xfrm>
          <a:custGeom>
            <a:avLst/>
            <a:gdLst>
              <a:gd name="connsiteX0" fmla="*/ 9329240 w 10020924"/>
              <a:gd name="connsiteY0" fmla="*/ 1080290 h 2041903"/>
              <a:gd name="connsiteX1" fmla="*/ 9251983 w 10020924"/>
              <a:gd name="connsiteY1" fmla="*/ 1187029 h 2041903"/>
              <a:gd name="connsiteX2" fmla="*/ 9329240 w 10020924"/>
              <a:gd name="connsiteY2" fmla="*/ 1296468 h 2041903"/>
              <a:gd name="connsiteX3" fmla="*/ 9782722 w 10020924"/>
              <a:gd name="connsiteY3" fmla="*/ 1296468 h 2041903"/>
              <a:gd name="connsiteX4" fmla="*/ 9782722 w 10020924"/>
              <a:gd name="connsiteY4" fmla="*/ 1080290 h 2041903"/>
              <a:gd name="connsiteX5" fmla="*/ 7331825 w 10020924"/>
              <a:gd name="connsiteY5" fmla="*/ 1080290 h 2041903"/>
              <a:gd name="connsiteX6" fmla="*/ 7254583 w 10020924"/>
              <a:gd name="connsiteY6" fmla="*/ 1187029 h 2041903"/>
              <a:gd name="connsiteX7" fmla="*/ 7331825 w 10020924"/>
              <a:gd name="connsiteY7" fmla="*/ 1296468 h 2041903"/>
              <a:gd name="connsiteX8" fmla="*/ 7785307 w 10020924"/>
              <a:gd name="connsiteY8" fmla="*/ 1296468 h 2041903"/>
              <a:gd name="connsiteX9" fmla="*/ 7785307 w 10020924"/>
              <a:gd name="connsiteY9" fmla="*/ 1080290 h 2041903"/>
              <a:gd name="connsiteX10" fmla="*/ 6171264 w 10020924"/>
              <a:gd name="connsiteY10" fmla="*/ 689323 h 2041903"/>
              <a:gd name="connsiteX11" fmla="*/ 6171264 w 10020924"/>
              <a:gd name="connsiteY11" fmla="*/ 1297318 h 2041903"/>
              <a:gd name="connsiteX12" fmla="*/ 6558679 w 10020924"/>
              <a:gd name="connsiteY12" fmla="*/ 1297318 h 2041903"/>
              <a:gd name="connsiteX13" fmla="*/ 6679368 w 10020924"/>
              <a:gd name="connsiteY13" fmla="*/ 1156413 h 2041903"/>
              <a:gd name="connsiteX14" fmla="*/ 6679368 w 10020924"/>
              <a:gd name="connsiteY14" fmla="*/ 830244 h 2041903"/>
              <a:gd name="connsiteX15" fmla="*/ 6558679 w 10020924"/>
              <a:gd name="connsiteY15" fmla="*/ 689323 h 2041903"/>
              <a:gd name="connsiteX16" fmla="*/ 9072763 w 10020924"/>
              <a:gd name="connsiteY16" fmla="*/ 463851 h 2041903"/>
              <a:gd name="connsiteX17" fmla="*/ 9678449 w 10020924"/>
              <a:gd name="connsiteY17" fmla="*/ 463851 h 2041903"/>
              <a:gd name="connsiteX18" fmla="*/ 10020924 w 10020924"/>
              <a:gd name="connsiteY18" fmla="*/ 826574 h 2041903"/>
              <a:gd name="connsiteX19" fmla="*/ 10020924 w 10020924"/>
              <a:gd name="connsiteY19" fmla="*/ 1522671 h 2041903"/>
              <a:gd name="connsiteX20" fmla="*/ 9304207 w 10020924"/>
              <a:gd name="connsiteY20" fmla="*/ 1522671 h 2041903"/>
              <a:gd name="connsiteX21" fmla="*/ 9015771 w 10020924"/>
              <a:gd name="connsiteY21" fmla="*/ 1219793 h 2041903"/>
              <a:gd name="connsiteX22" fmla="*/ 9015771 w 10020924"/>
              <a:gd name="connsiteY22" fmla="*/ 1169781 h 2041903"/>
              <a:gd name="connsiteX23" fmla="*/ 9294061 w 10020924"/>
              <a:gd name="connsiteY23" fmla="*/ 866738 h 2041903"/>
              <a:gd name="connsiteX24" fmla="*/ 9782829 w 10020924"/>
              <a:gd name="connsiteY24" fmla="*/ 866738 h 2041903"/>
              <a:gd name="connsiteX25" fmla="*/ 9782707 w 10020924"/>
              <a:gd name="connsiteY25" fmla="*/ 829349 h 2041903"/>
              <a:gd name="connsiteX26" fmla="*/ 9662481 w 10020924"/>
              <a:gd name="connsiteY26" fmla="*/ 688428 h 2041903"/>
              <a:gd name="connsiteX27" fmla="*/ 9072763 w 10020924"/>
              <a:gd name="connsiteY27" fmla="*/ 688428 h 2041903"/>
              <a:gd name="connsiteX28" fmla="*/ 8071817 w 10020924"/>
              <a:gd name="connsiteY28" fmla="*/ 463851 h 2041903"/>
              <a:gd name="connsiteX29" fmla="*/ 8991911 w 10020924"/>
              <a:gd name="connsiteY29" fmla="*/ 463851 h 2041903"/>
              <a:gd name="connsiteX30" fmla="*/ 8991911 w 10020924"/>
              <a:gd name="connsiteY30" fmla="*/ 686668 h 2041903"/>
              <a:gd name="connsiteX31" fmla="*/ 8652240 w 10020924"/>
              <a:gd name="connsiteY31" fmla="*/ 686668 h 2041903"/>
              <a:gd name="connsiteX32" fmla="*/ 8652240 w 10020924"/>
              <a:gd name="connsiteY32" fmla="*/ 1522955 h 2041903"/>
              <a:gd name="connsiteX33" fmla="*/ 8411534 w 10020924"/>
              <a:gd name="connsiteY33" fmla="*/ 1522955 h 2041903"/>
              <a:gd name="connsiteX34" fmla="*/ 8411534 w 10020924"/>
              <a:gd name="connsiteY34" fmla="*/ 686668 h 2041903"/>
              <a:gd name="connsiteX35" fmla="*/ 8071817 w 10020924"/>
              <a:gd name="connsiteY35" fmla="*/ 686668 h 2041903"/>
              <a:gd name="connsiteX36" fmla="*/ 7075333 w 10020924"/>
              <a:gd name="connsiteY36" fmla="*/ 463851 h 2041903"/>
              <a:gd name="connsiteX37" fmla="*/ 7681075 w 10020924"/>
              <a:gd name="connsiteY37" fmla="*/ 463851 h 2041903"/>
              <a:gd name="connsiteX38" fmla="*/ 8023417 w 10020924"/>
              <a:gd name="connsiteY38" fmla="*/ 826574 h 2041903"/>
              <a:gd name="connsiteX39" fmla="*/ 8023417 w 10020924"/>
              <a:gd name="connsiteY39" fmla="*/ 1522671 h 2041903"/>
              <a:gd name="connsiteX40" fmla="*/ 7306759 w 10020924"/>
              <a:gd name="connsiteY40" fmla="*/ 1522671 h 2041903"/>
              <a:gd name="connsiteX41" fmla="*/ 7018293 w 10020924"/>
              <a:gd name="connsiteY41" fmla="*/ 1219793 h 2041903"/>
              <a:gd name="connsiteX42" fmla="*/ 7018293 w 10020924"/>
              <a:gd name="connsiteY42" fmla="*/ 1169781 h 2041903"/>
              <a:gd name="connsiteX43" fmla="*/ 7296628 w 10020924"/>
              <a:gd name="connsiteY43" fmla="*/ 866738 h 2041903"/>
              <a:gd name="connsiteX44" fmla="*/ 7785307 w 10020924"/>
              <a:gd name="connsiteY44" fmla="*/ 866738 h 2041903"/>
              <a:gd name="connsiteX45" fmla="*/ 7785307 w 10020924"/>
              <a:gd name="connsiteY45" fmla="*/ 829349 h 2041903"/>
              <a:gd name="connsiteX46" fmla="*/ 7665080 w 10020924"/>
              <a:gd name="connsiteY46" fmla="*/ 688428 h 2041903"/>
              <a:gd name="connsiteX47" fmla="*/ 7075333 w 10020924"/>
              <a:gd name="connsiteY47" fmla="*/ 688428 h 2041903"/>
              <a:gd name="connsiteX48" fmla="*/ 5930572 w 10020924"/>
              <a:gd name="connsiteY48" fmla="*/ 463851 h 2041903"/>
              <a:gd name="connsiteX49" fmla="*/ 6574718 w 10020924"/>
              <a:gd name="connsiteY49" fmla="*/ 463851 h 2041903"/>
              <a:gd name="connsiteX50" fmla="*/ 6925013 w 10020924"/>
              <a:gd name="connsiteY50" fmla="*/ 834884 h 2041903"/>
              <a:gd name="connsiteX51" fmla="*/ 6925013 w 10020924"/>
              <a:gd name="connsiteY51" fmla="*/ 1151743 h 2041903"/>
              <a:gd name="connsiteX52" fmla="*/ 6585968 w 10020924"/>
              <a:gd name="connsiteY52" fmla="*/ 1522671 h 2041903"/>
              <a:gd name="connsiteX53" fmla="*/ 5930572 w 10020924"/>
              <a:gd name="connsiteY53" fmla="*/ 1522671 h 2041903"/>
              <a:gd name="connsiteX54" fmla="*/ 4717895 w 10020924"/>
              <a:gd name="connsiteY54" fmla="*/ 463851 h 2041903"/>
              <a:gd name="connsiteX55" fmla="*/ 5638093 w 10020924"/>
              <a:gd name="connsiteY55" fmla="*/ 463851 h 2041903"/>
              <a:gd name="connsiteX56" fmla="*/ 5638093 w 10020924"/>
              <a:gd name="connsiteY56" fmla="*/ 686668 h 2041903"/>
              <a:gd name="connsiteX57" fmla="*/ 5298318 w 10020924"/>
              <a:gd name="connsiteY57" fmla="*/ 686668 h 2041903"/>
              <a:gd name="connsiteX58" fmla="*/ 5298318 w 10020924"/>
              <a:gd name="connsiteY58" fmla="*/ 1522955 h 2041903"/>
              <a:gd name="connsiteX59" fmla="*/ 5057626 w 10020924"/>
              <a:gd name="connsiteY59" fmla="*/ 1522955 h 2041903"/>
              <a:gd name="connsiteX60" fmla="*/ 5057626 w 10020924"/>
              <a:gd name="connsiteY60" fmla="*/ 686668 h 2041903"/>
              <a:gd name="connsiteX61" fmla="*/ 4717895 w 10020924"/>
              <a:gd name="connsiteY61" fmla="*/ 686668 h 2041903"/>
              <a:gd name="connsiteX62" fmla="*/ 3721291 w 10020924"/>
              <a:gd name="connsiteY62" fmla="*/ 463851 h 2041903"/>
              <a:gd name="connsiteX63" fmla="*/ 4641430 w 10020924"/>
              <a:gd name="connsiteY63" fmla="*/ 463851 h 2041903"/>
              <a:gd name="connsiteX64" fmla="*/ 4641430 w 10020924"/>
              <a:gd name="connsiteY64" fmla="*/ 686668 h 2041903"/>
              <a:gd name="connsiteX65" fmla="*/ 4301654 w 10020924"/>
              <a:gd name="connsiteY65" fmla="*/ 686668 h 2041903"/>
              <a:gd name="connsiteX66" fmla="*/ 4301654 w 10020924"/>
              <a:gd name="connsiteY66" fmla="*/ 1522955 h 2041903"/>
              <a:gd name="connsiteX67" fmla="*/ 4061067 w 10020924"/>
              <a:gd name="connsiteY67" fmla="*/ 1522955 h 2041903"/>
              <a:gd name="connsiteX68" fmla="*/ 4061067 w 10020924"/>
              <a:gd name="connsiteY68" fmla="*/ 686668 h 2041903"/>
              <a:gd name="connsiteX69" fmla="*/ 3721291 w 10020924"/>
              <a:gd name="connsiteY69" fmla="*/ 686668 h 2041903"/>
              <a:gd name="connsiteX70" fmla="*/ 2809822 w 10020924"/>
              <a:gd name="connsiteY70" fmla="*/ 452019 h 2041903"/>
              <a:gd name="connsiteX71" fmla="*/ 3016077 w 10020924"/>
              <a:gd name="connsiteY71" fmla="*/ 572753 h 2041903"/>
              <a:gd name="connsiteX72" fmla="*/ 3381948 w 10020924"/>
              <a:gd name="connsiteY72" fmla="*/ 1270566 h 2041903"/>
              <a:gd name="connsiteX73" fmla="*/ 3400240 w 10020924"/>
              <a:gd name="connsiteY73" fmla="*/ 1281756 h 2041903"/>
              <a:gd name="connsiteX74" fmla="*/ 3406134 w 10020924"/>
              <a:gd name="connsiteY74" fmla="*/ 1255736 h 2041903"/>
              <a:gd name="connsiteX75" fmla="*/ 3402657 w 10020924"/>
              <a:gd name="connsiteY75" fmla="*/ 1123946 h 2041903"/>
              <a:gd name="connsiteX76" fmla="*/ 3402657 w 10020924"/>
              <a:gd name="connsiteY76" fmla="*/ 463522 h 2041903"/>
              <a:gd name="connsiteX77" fmla="*/ 3639813 w 10020924"/>
              <a:gd name="connsiteY77" fmla="*/ 463522 h 2041903"/>
              <a:gd name="connsiteX78" fmla="*/ 3639813 w 10020924"/>
              <a:gd name="connsiteY78" fmla="*/ 1255333 h 2041903"/>
              <a:gd name="connsiteX79" fmla="*/ 3425426 w 10020924"/>
              <a:gd name="connsiteY79" fmla="*/ 1534727 h 2041903"/>
              <a:gd name="connsiteX80" fmla="*/ 3219125 w 10020924"/>
              <a:gd name="connsiteY80" fmla="*/ 1413949 h 2041903"/>
              <a:gd name="connsiteX81" fmla="*/ 2853165 w 10020924"/>
              <a:gd name="connsiteY81" fmla="*/ 716135 h 2041903"/>
              <a:gd name="connsiteX82" fmla="*/ 2834887 w 10020924"/>
              <a:gd name="connsiteY82" fmla="*/ 704930 h 2041903"/>
              <a:gd name="connsiteX83" fmla="*/ 2829009 w 10020924"/>
              <a:gd name="connsiteY83" fmla="*/ 730980 h 2041903"/>
              <a:gd name="connsiteX84" fmla="*/ 2832590 w 10020924"/>
              <a:gd name="connsiteY84" fmla="*/ 862725 h 2041903"/>
              <a:gd name="connsiteX85" fmla="*/ 2832590 w 10020924"/>
              <a:gd name="connsiteY85" fmla="*/ 1523194 h 2041903"/>
              <a:gd name="connsiteX86" fmla="*/ 2595360 w 10020924"/>
              <a:gd name="connsiteY86" fmla="*/ 1523194 h 2041903"/>
              <a:gd name="connsiteX87" fmla="*/ 2595360 w 10020924"/>
              <a:gd name="connsiteY87" fmla="*/ 731368 h 2041903"/>
              <a:gd name="connsiteX88" fmla="*/ 2809822 w 10020924"/>
              <a:gd name="connsiteY88" fmla="*/ 452019 h 2041903"/>
              <a:gd name="connsiteX89" fmla="*/ 1079247 w 10020924"/>
              <a:gd name="connsiteY89" fmla="*/ 330967 h 2041903"/>
              <a:gd name="connsiteX90" fmla="*/ 952084 w 10020924"/>
              <a:gd name="connsiteY90" fmla="*/ 465588 h 2041903"/>
              <a:gd name="connsiteX91" fmla="*/ 887125 w 10020924"/>
              <a:gd name="connsiteY91" fmla="*/ 684091 h 2041903"/>
              <a:gd name="connsiteX92" fmla="*/ 940315 w 10020924"/>
              <a:gd name="connsiteY92" fmla="*/ 833769 h 2041903"/>
              <a:gd name="connsiteX93" fmla="*/ 1079206 w 10020924"/>
              <a:gd name="connsiteY93" fmla="*/ 894946 h 2041903"/>
              <a:gd name="connsiteX94" fmla="*/ 1218097 w 10020924"/>
              <a:gd name="connsiteY94" fmla="*/ 833769 h 2041903"/>
              <a:gd name="connsiteX95" fmla="*/ 1271286 w 10020924"/>
              <a:gd name="connsiteY95" fmla="*/ 684091 h 2041903"/>
              <a:gd name="connsiteX96" fmla="*/ 1206328 w 10020924"/>
              <a:gd name="connsiteY96" fmla="*/ 465588 h 2041903"/>
              <a:gd name="connsiteX97" fmla="*/ 1079247 w 10020924"/>
              <a:gd name="connsiteY97" fmla="*/ 330967 h 2041903"/>
              <a:gd name="connsiteX98" fmla="*/ 805966 w 10020924"/>
              <a:gd name="connsiteY98" fmla="*/ 263259 h 2041903"/>
              <a:gd name="connsiteX99" fmla="*/ 446364 w 10020924"/>
              <a:gd name="connsiteY99" fmla="*/ 449558 h 2041903"/>
              <a:gd name="connsiteX100" fmla="*/ 316290 w 10020924"/>
              <a:gd name="connsiteY100" fmla="*/ 671430 h 2041903"/>
              <a:gd name="connsiteX101" fmla="*/ 265280 w 10020924"/>
              <a:gd name="connsiteY101" fmla="*/ 958605 h 2041903"/>
              <a:gd name="connsiteX102" fmla="*/ 329833 w 10020924"/>
              <a:gd name="connsiteY102" fmla="*/ 1280240 h 2041903"/>
              <a:gd name="connsiteX103" fmla="*/ 505249 w 10020924"/>
              <a:gd name="connsiteY103" fmla="*/ 1539802 h 2041903"/>
              <a:gd name="connsiteX104" fmla="*/ 764163 w 10020924"/>
              <a:gd name="connsiteY104" fmla="*/ 1713204 h 2041903"/>
              <a:gd name="connsiteX105" fmla="*/ 1079208 w 10020924"/>
              <a:gd name="connsiteY105" fmla="*/ 1776358 h 2041903"/>
              <a:gd name="connsiteX106" fmla="*/ 1394254 w 10020924"/>
              <a:gd name="connsiteY106" fmla="*/ 1713204 h 2041903"/>
              <a:gd name="connsiteX107" fmla="*/ 1653167 w 10020924"/>
              <a:gd name="connsiteY107" fmla="*/ 1539802 h 2041903"/>
              <a:gd name="connsiteX108" fmla="*/ 1828584 w 10020924"/>
              <a:gd name="connsiteY108" fmla="*/ 1280240 h 2041903"/>
              <a:gd name="connsiteX109" fmla="*/ 1893137 w 10020924"/>
              <a:gd name="connsiteY109" fmla="*/ 958605 h 2041903"/>
              <a:gd name="connsiteX110" fmla="*/ 1843297 w 10020924"/>
              <a:gd name="connsiteY110" fmla="*/ 674433 h 2041903"/>
              <a:gd name="connsiteX111" fmla="*/ 1715171 w 10020924"/>
              <a:gd name="connsiteY111" fmla="*/ 452650 h 2041903"/>
              <a:gd name="connsiteX112" fmla="*/ 1352451 w 10020924"/>
              <a:gd name="connsiteY112" fmla="*/ 263259 h 2041903"/>
              <a:gd name="connsiteX113" fmla="*/ 1489332 w 10020924"/>
              <a:gd name="connsiteY113" fmla="*/ 469668 h 2041903"/>
              <a:gd name="connsiteX114" fmla="*/ 1533501 w 10020924"/>
              <a:gd name="connsiteY114" fmla="*/ 697463 h 2041903"/>
              <a:gd name="connsiteX115" fmla="*/ 1395669 w 10020924"/>
              <a:gd name="connsiteY115" fmla="*/ 1031243 h 2041903"/>
              <a:gd name="connsiteX116" fmla="*/ 1079208 w 10020924"/>
              <a:gd name="connsiteY116" fmla="*/ 1160853 h 2041903"/>
              <a:gd name="connsiteX117" fmla="*/ 762748 w 10020924"/>
              <a:gd name="connsiteY117" fmla="*/ 1031243 h 2041903"/>
              <a:gd name="connsiteX118" fmla="*/ 624916 w 10020924"/>
              <a:gd name="connsiteY118" fmla="*/ 697463 h 2041903"/>
              <a:gd name="connsiteX119" fmla="*/ 673201 w 10020924"/>
              <a:gd name="connsiteY119" fmla="*/ 463015 h 2041903"/>
              <a:gd name="connsiteX120" fmla="*/ 805966 w 10020924"/>
              <a:gd name="connsiteY120" fmla="*/ 263259 h 2041903"/>
              <a:gd name="connsiteX121" fmla="*/ 817834 w 10020924"/>
              <a:gd name="connsiteY121" fmla="*/ 0 h 2041903"/>
              <a:gd name="connsiteX122" fmla="*/ 963091 w 10020924"/>
              <a:gd name="connsiteY122" fmla="*/ 14770 h 2041903"/>
              <a:gd name="connsiteX123" fmla="*/ 1079167 w 10020924"/>
              <a:gd name="connsiteY123" fmla="*/ 48893 h 2041903"/>
              <a:gd name="connsiteX124" fmla="*/ 1194646 w 10020924"/>
              <a:gd name="connsiteY124" fmla="*/ 14436 h 2041903"/>
              <a:gd name="connsiteX125" fmla="*/ 1340583 w 10020924"/>
              <a:gd name="connsiteY125" fmla="*/ 0 h 2041903"/>
              <a:gd name="connsiteX126" fmla="*/ 1649693 w 10020924"/>
              <a:gd name="connsiteY126" fmla="*/ 72213 h 2041903"/>
              <a:gd name="connsiteX127" fmla="*/ 1910677 w 10020924"/>
              <a:gd name="connsiteY127" fmla="*/ 272891 h 2041903"/>
              <a:gd name="connsiteX128" fmla="*/ 2091072 w 10020924"/>
              <a:gd name="connsiteY128" fmla="*/ 578096 h 2041903"/>
              <a:gd name="connsiteX129" fmla="*/ 2158417 w 10020924"/>
              <a:gd name="connsiteY129" fmla="*/ 963886 h 2041903"/>
              <a:gd name="connsiteX130" fmla="*/ 2071704 w 10020924"/>
              <a:gd name="connsiteY130" fmla="*/ 1388805 h 2041903"/>
              <a:gd name="connsiteX131" fmla="*/ 1837251 w 10020924"/>
              <a:gd name="connsiteY131" fmla="*/ 1730875 h 2041903"/>
              <a:gd name="connsiteX132" fmla="*/ 1493585 w 10020924"/>
              <a:gd name="connsiteY132" fmla="*/ 1958956 h 2041903"/>
              <a:gd name="connsiteX133" fmla="*/ 1079208 w 10020924"/>
              <a:gd name="connsiteY133" fmla="*/ 2041903 h 2041903"/>
              <a:gd name="connsiteX134" fmla="*/ 664832 w 10020924"/>
              <a:gd name="connsiteY134" fmla="*/ 1958956 h 2041903"/>
              <a:gd name="connsiteX135" fmla="*/ 321166 w 10020924"/>
              <a:gd name="connsiteY135" fmla="*/ 1730875 h 2041903"/>
              <a:gd name="connsiteX136" fmla="*/ 86713 w 10020924"/>
              <a:gd name="connsiteY136" fmla="*/ 1388805 h 2041903"/>
              <a:gd name="connsiteX137" fmla="*/ 0 w 10020924"/>
              <a:gd name="connsiteY137" fmla="*/ 963886 h 2041903"/>
              <a:gd name="connsiteX138" fmla="*/ 67345 w 10020924"/>
              <a:gd name="connsiteY138" fmla="*/ 578096 h 2041903"/>
              <a:gd name="connsiteX139" fmla="*/ 247740 w 10020924"/>
              <a:gd name="connsiteY139" fmla="*/ 272891 h 2041903"/>
              <a:gd name="connsiteX140" fmla="*/ 508723 w 10020924"/>
              <a:gd name="connsiteY140" fmla="*/ 72213 h 2041903"/>
              <a:gd name="connsiteX141" fmla="*/ 817834 w 10020924"/>
              <a:gd name="connsiteY141" fmla="*/ 0 h 2041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10020924" h="2041903">
                <a:moveTo>
                  <a:pt x="9329240" y="1080290"/>
                </a:moveTo>
                <a:cubicBezTo>
                  <a:pt x="9292358" y="1080290"/>
                  <a:pt x="9251983" y="1096116"/>
                  <a:pt x="9251983" y="1187029"/>
                </a:cubicBezTo>
                <a:cubicBezTo>
                  <a:pt x="9251983" y="1277880"/>
                  <a:pt x="9292801" y="1296468"/>
                  <a:pt x="9329240" y="1296468"/>
                </a:cubicBezTo>
                <a:lnTo>
                  <a:pt x="9782722" y="1296468"/>
                </a:lnTo>
                <a:lnTo>
                  <a:pt x="9782722" y="1080290"/>
                </a:lnTo>
                <a:close/>
                <a:moveTo>
                  <a:pt x="7331825" y="1080290"/>
                </a:moveTo>
                <a:cubicBezTo>
                  <a:pt x="7294927" y="1080290"/>
                  <a:pt x="7254583" y="1096116"/>
                  <a:pt x="7254583" y="1187029"/>
                </a:cubicBezTo>
                <a:cubicBezTo>
                  <a:pt x="7254583" y="1277880"/>
                  <a:pt x="7295379" y="1296468"/>
                  <a:pt x="7331825" y="1296468"/>
                </a:cubicBezTo>
                <a:lnTo>
                  <a:pt x="7785307" y="1296468"/>
                </a:lnTo>
                <a:lnTo>
                  <a:pt x="7785307" y="1080290"/>
                </a:lnTo>
                <a:close/>
                <a:moveTo>
                  <a:pt x="6171264" y="689323"/>
                </a:moveTo>
                <a:lnTo>
                  <a:pt x="6171264" y="1297318"/>
                </a:lnTo>
                <a:lnTo>
                  <a:pt x="6558679" y="1297318"/>
                </a:lnTo>
                <a:cubicBezTo>
                  <a:pt x="6645146" y="1297318"/>
                  <a:pt x="6679368" y="1257837"/>
                  <a:pt x="6679368" y="1156413"/>
                </a:cubicBezTo>
                <a:lnTo>
                  <a:pt x="6679368" y="830244"/>
                </a:lnTo>
                <a:cubicBezTo>
                  <a:pt x="6679368" y="728827"/>
                  <a:pt x="6645146" y="689323"/>
                  <a:pt x="6558679" y="689323"/>
                </a:cubicBezTo>
                <a:close/>
                <a:moveTo>
                  <a:pt x="9072763" y="463851"/>
                </a:moveTo>
                <a:lnTo>
                  <a:pt x="9678449" y="463851"/>
                </a:lnTo>
                <a:cubicBezTo>
                  <a:pt x="9932730" y="463851"/>
                  <a:pt x="10020924" y="559816"/>
                  <a:pt x="10020924" y="826574"/>
                </a:cubicBezTo>
                <a:lnTo>
                  <a:pt x="10020924" y="1522671"/>
                </a:lnTo>
                <a:lnTo>
                  <a:pt x="9304207" y="1522671"/>
                </a:lnTo>
                <a:cubicBezTo>
                  <a:pt x="9111641" y="1522671"/>
                  <a:pt x="9015771" y="1435849"/>
                  <a:pt x="9015771" y="1219793"/>
                </a:cubicBezTo>
                <a:lnTo>
                  <a:pt x="9015771" y="1169781"/>
                </a:lnTo>
                <a:cubicBezTo>
                  <a:pt x="9015771" y="959714"/>
                  <a:pt x="9108248" y="866738"/>
                  <a:pt x="9294061" y="866738"/>
                </a:cubicBezTo>
                <a:lnTo>
                  <a:pt x="9782829" y="866738"/>
                </a:lnTo>
                <a:cubicBezTo>
                  <a:pt x="9782829" y="858122"/>
                  <a:pt x="9782707" y="829861"/>
                  <a:pt x="9782707" y="829349"/>
                </a:cubicBezTo>
                <a:cubicBezTo>
                  <a:pt x="9782707" y="727955"/>
                  <a:pt x="9749047" y="688428"/>
                  <a:pt x="9662481" y="688428"/>
                </a:cubicBezTo>
                <a:lnTo>
                  <a:pt x="9072763" y="688428"/>
                </a:lnTo>
                <a:close/>
                <a:moveTo>
                  <a:pt x="8071817" y="463851"/>
                </a:moveTo>
                <a:lnTo>
                  <a:pt x="8991911" y="463851"/>
                </a:lnTo>
                <a:lnTo>
                  <a:pt x="8991911" y="686668"/>
                </a:lnTo>
                <a:lnTo>
                  <a:pt x="8652240" y="686668"/>
                </a:lnTo>
                <a:lnTo>
                  <a:pt x="8652240" y="1522955"/>
                </a:lnTo>
                <a:lnTo>
                  <a:pt x="8411534" y="1522955"/>
                </a:lnTo>
                <a:lnTo>
                  <a:pt x="8411534" y="686668"/>
                </a:lnTo>
                <a:lnTo>
                  <a:pt x="8071817" y="686668"/>
                </a:lnTo>
                <a:close/>
                <a:moveTo>
                  <a:pt x="7075333" y="463851"/>
                </a:moveTo>
                <a:lnTo>
                  <a:pt x="7681075" y="463851"/>
                </a:lnTo>
                <a:cubicBezTo>
                  <a:pt x="7935303" y="463851"/>
                  <a:pt x="8023424" y="559816"/>
                  <a:pt x="8023417" y="826574"/>
                </a:cubicBezTo>
                <a:lnTo>
                  <a:pt x="8023417" y="1522671"/>
                </a:lnTo>
                <a:lnTo>
                  <a:pt x="7306759" y="1522671"/>
                </a:lnTo>
                <a:cubicBezTo>
                  <a:pt x="7114170" y="1522671"/>
                  <a:pt x="7018293" y="1435849"/>
                  <a:pt x="7018293" y="1219793"/>
                </a:cubicBezTo>
                <a:lnTo>
                  <a:pt x="7018293" y="1169781"/>
                </a:lnTo>
                <a:cubicBezTo>
                  <a:pt x="7018293" y="959714"/>
                  <a:pt x="7110792" y="866738"/>
                  <a:pt x="7296628" y="866738"/>
                </a:cubicBezTo>
                <a:lnTo>
                  <a:pt x="7785307" y="866738"/>
                </a:lnTo>
                <a:lnTo>
                  <a:pt x="7785307" y="829349"/>
                </a:lnTo>
                <a:cubicBezTo>
                  <a:pt x="7785307" y="727955"/>
                  <a:pt x="7751547" y="688428"/>
                  <a:pt x="7665080" y="688428"/>
                </a:cubicBezTo>
                <a:lnTo>
                  <a:pt x="7075333" y="688428"/>
                </a:lnTo>
                <a:close/>
                <a:moveTo>
                  <a:pt x="5930572" y="463851"/>
                </a:moveTo>
                <a:lnTo>
                  <a:pt x="6574718" y="463851"/>
                </a:lnTo>
                <a:cubicBezTo>
                  <a:pt x="6817412" y="463851"/>
                  <a:pt x="6925013" y="557409"/>
                  <a:pt x="6925013" y="834884"/>
                </a:cubicBezTo>
                <a:lnTo>
                  <a:pt x="6925013" y="1151743"/>
                </a:lnTo>
                <a:cubicBezTo>
                  <a:pt x="6925013" y="1394650"/>
                  <a:pt x="6843589" y="1522671"/>
                  <a:pt x="6585968" y="1522671"/>
                </a:cubicBezTo>
                <a:lnTo>
                  <a:pt x="5930572" y="1522671"/>
                </a:lnTo>
                <a:close/>
                <a:moveTo>
                  <a:pt x="4717895" y="463851"/>
                </a:moveTo>
                <a:lnTo>
                  <a:pt x="5638093" y="463851"/>
                </a:lnTo>
                <a:lnTo>
                  <a:pt x="5638093" y="686668"/>
                </a:lnTo>
                <a:lnTo>
                  <a:pt x="5298318" y="686668"/>
                </a:lnTo>
                <a:lnTo>
                  <a:pt x="5298318" y="1522955"/>
                </a:lnTo>
                <a:lnTo>
                  <a:pt x="5057626" y="1522955"/>
                </a:lnTo>
                <a:lnTo>
                  <a:pt x="5057626" y="686668"/>
                </a:lnTo>
                <a:lnTo>
                  <a:pt x="4717895" y="686668"/>
                </a:lnTo>
                <a:close/>
                <a:moveTo>
                  <a:pt x="3721291" y="463851"/>
                </a:moveTo>
                <a:lnTo>
                  <a:pt x="4641430" y="463851"/>
                </a:lnTo>
                <a:lnTo>
                  <a:pt x="4641430" y="686668"/>
                </a:lnTo>
                <a:lnTo>
                  <a:pt x="4301654" y="686668"/>
                </a:lnTo>
                <a:lnTo>
                  <a:pt x="4301654" y="1522955"/>
                </a:lnTo>
                <a:lnTo>
                  <a:pt x="4061067" y="1522955"/>
                </a:lnTo>
                <a:lnTo>
                  <a:pt x="4061067" y="686668"/>
                </a:lnTo>
                <a:lnTo>
                  <a:pt x="3721291" y="686668"/>
                </a:lnTo>
                <a:close/>
                <a:moveTo>
                  <a:pt x="2809822" y="452019"/>
                </a:moveTo>
                <a:cubicBezTo>
                  <a:pt x="2915562" y="452019"/>
                  <a:pt x="2970732" y="501487"/>
                  <a:pt x="3016077" y="572753"/>
                </a:cubicBezTo>
                <a:cubicBezTo>
                  <a:pt x="3055320" y="634446"/>
                  <a:pt x="3376830" y="1260842"/>
                  <a:pt x="3381948" y="1270566"/>
                </a:cubicBezTo>
                <a:cubicBezTo>
                  <a:pt x="3386677" y="1279328"/>
                  <a:pt x="3393442" y="1285729"/>
                  <a:pt x="3400240" y="1281756"/>
                </a:cubicBezTo>
                <a:cubicBezTo>
                  <a:pt x="3406237" y="1278349"/>
                  <a:pt x="3406646" y="1267378"/>
                  <a:pt x="3406134" y="1255736"/>
                </a:cubicBezTo>
                <a:cubicBezTo>
                  <a:pt x="3405492" y="1241619"/>
                  <a:pt x="3402657" y="1171378"/>
                  <a:pt x="3402657" y="1123946"/>
                </a:cubicBezTo>
                <a:lnTo>
                  <a:pt x="3402657" y="463522"/>
                </a:lnTo>
                <a:lnTo>
                  <a:pt x="3639813" y="463522"/>
                </a:lnTo>
                <a:lnTo>
                  <a:pt x="3639813" y="1255333"/>
                </a:lnTo>
                <a:cubicBezTo>
                  <a:pt x="3639813" y="1491113"/>
                  <a:pt x="3523557" y="1534727"/>
                  <a:pt x="3425426" y="1534727"/>
                </a:cubicBezTo>
                <a:cubicBezTo>
                  <a:pt x="3319670" y="1534727"/>
                  <a:pt x="3264509" y="1485221"/>
                  <a:pt x="3219125" y="1413949"/>
                </a:cubicBezTo>
                <a:cubicBezTo>
                  <a:pt x="3155813" y="1314503"/>
                  <a:pt x="2857763" y="724966"/>
                  <a:pt x="2853165" y="716135"/>
                </a:cubicBezTo>
                <a:cubicBezTo>
                  <a:pt x="2848558" y="707335"/>
                  <a:pt x="2841793" y="701034"/>
                  <a:pt x="2834887" y="704930"/>
                </a:cubicBezTo>
                <a:cubicBezTo>
                  <a:pt x="2829005" y="708344"/>
                  <a:pt x="2828497" y="719338"/>
                  <a:pt x="2829009" y="730980"/>
                </a:cubicBezTo>
                <a:cubicBezTo>
                  <a:pt x="2829628" y="745090"/>
                  <a:pt x="2832590" y="815378"/>
                  <a:pt x="2832590" y="862725"/>
                </a:cubicBezTo>
                <a:lnTo>
                  <a:pt x="2832590" y="1523194"/>
                </a:lnTo>
                <a:lnTo>
                  <a:pt x="2595360" y="1523194"/>
                </a:lnTo>
                <a:lnTo>
                  <a:pt x="2595360" y="731368"/>
                </a:lnTo>
                <a:cubicBezTo>
                  <a:pt x="2595360" y="495611"/>
                  <a:pt x="2711606" y="452019"/>
                  <a:pt x="2809822" y="452019"/>
                </a:cubicBezTo>
                <a:close/>
                <a:moveTo>
                  <a:pt x="1079247" y="330967"/>
                </a:moveTo>
                <a:cubicBezTo>
                  <a:pt x="1039101" y="354484"/>
                  <a:pt x="989740" y="403598"/>
                  <a:pt x="952084" y="465588"/>
                </a:cubicBezTo>
                <a:cubicBezTo>
                  <a:pt x="914427" y="527577"/>
                  <a:pt x="887125" y="603548"/>
                  <a:pt x="887125" y="684091"/>
                </a:cubicBezTo>
                <a:cubicBezTo>
                  <a:pt x="887125" y="743091"/>
                  <a:pt x="906578" y="795805"/>
                  <a:pt x="940315" y="833769"/>
                </a:cubicBezTo>
                <a:cubicBezTo>
                  <a:pt x="974052" y="871732"/>
                  <a:pt x="1022072" y="894946"/>
                  <a:pt x="1079206" y="894946"/>
                </a:cubicBezTo>
                <a:cubicBezTo>
                  <a:pt x="1136340" y="894946"/>
                  <a:pt x="1184360" y="871732"/>
                  <a:pt x="1218097" y="833769"/>
                </a:cubicBezTo>
                <a:cubicBezTo>
                  <a:pt x="1251833" y="795805"/>
                  <a:pt x="1271286" y="743091"/>
                  <a:pt x="1271286" y="684091"/>
                </a:cubicBezTo>
                <a:cubicBezTo>
                  <a:pt x="1271286" y="603548"/>
                  <a:pt x="1243984" y="527577"/>
                  <a:pt x="1206328" y="465588"/>
                </a:cubicBezTo>
                <a:cubicBezTo>
                  <a:pt x="1168672" y="403598"/>
                  <a:pt x="1110735" y="347874"/>
                  <a:pt x="1079247" y="330967"/>
                </a:cubicBezTo>
                <a:close/>
                <a:moveTo>
                  <a:pt x="805966" y="263259"/>
                </a:moveTo>
                <a:cubicBezTo>
                  <a:pt x="686954" y="257894"/>
                  <a:pt x="551782" y="326830"/>
                  <a:pt x="446364" y="449558"/>
                </a:cubicBezTo>
                <a:cubicBezTo>
                  <a:pt x="393654" y="510922"/>
                  <a:pt x="348383" y="585734"/>
                  <a:pt x="316290" y="671430"/>
                </a:cubicBezTo>
                <a:cubicBezTo>
                  <a:pt x="284196" y="757125"/>
                  <a:pt x="265280" y="853705"/>
                  <a:pt x="265280" y="958605"/>
                </a:cubicBezTo>
                <a:cubicBezTo>
                  <a:pt x="265280" y="1073486"/>
                  <a:pt x="288318" y="1182036"/>
                  <a:pt x="329833" y="1280240"/>
                </a:cubicBezTo>
                <a:cubicBezTo>
                  <a:pt x="371348" y="1378444"/>
                  <a:pt x="431341" y="1466303"/>
                  <a:pt x="505249" y="1539802"/>
                </a:cubicBezTo>
                <a:cubicBezTo>
                  <a:pt x="579158" y="1613301"/>
                  <a:pt x="666983" y="1672440"/>
                  <a:pt x="764163" y="1713204"/>
                </a:cubicBezTo>
                <a:cubicBezTo>
                  <a:pt x="861343" y="1753969"/>
                  <a:pt x="967878" y="1776358"/>
                  <a:pt x="1079208" y="1776358"/>
                </a:cubicBezTo>
                <a:cubicBezTo>
                  <a:pt x="1190538" y="1776358"/>
                  <a:pt x="1297074" y="1753969"/>
                  <a:pt x="1394254" y="1713204"/>
                </a:cubicBezTo>
                <a:cubicBezTo>
                  <a:pt x="1491434" y="1672440"/>
                  <a:pt x="1579259" y="1613301"/>
                  <a:pt x="1653167" y="1539802"/>
                </a:cubicBezTo>
                <a:cubicBezTo>
                  <a:pt x="1727076" y="1466303"/>
                  <a:pt x="1787068" y="1378444"/>
                  <a:pt x="1828584" y="1280240"/>
                </a:cubicBezTo>
                <a:cubicBezTo>
                  <a:pt x="1870099" y="1182036"/>
                  <a:pt x="1893137" y="1073486"/>
                  <a:pt x="1893137" y="958605"/>
                </a:cubicBezTo>
                <a:cubicBezTo>
                  <a:pt x="1893137" y="855344"/>
                  <a:pt x="1874740" y="759689"/>
                  <a:pt x="1843297" y="674433"/>
                </a:cubicBezTo>
                <a:cubicBezTo>
                  <a:pt x="1811852" y="589176"/>
                  <a:pt x="1767361" y="514318"/>
                  <a:pt x="1715171" y="452650"/>
                </a:cubicBezTo>
                <a:cubicBezTo>
                  <a:pt x="1610792" y="329313"/>
                  <a:pt x="1475621" y="258738"/>
                  <a:pt x="1352451" y="263259"/>
                </a:cubicBezTo>
                <a:cubicBezTo>
                  <a:pt x="1412945" y="322179"/>
                  <a:pt x="1458865" y="394141"/>
                  <a:pt x="1489332" y="469668"/>
                </a:cubicBezTo>
                <a:cubicBezTo>
                  <a:pt x="1519800" y="545194"/>
                  <a:pt x="1534815" y="624285"/>
                  <a:pt x="1533501" y="697463"/>
                </a:cubicBezTo>
                <a:cubicBezTo>
                  <a:pt x="1533501" y="833577"/>
                  <a:pt x="1479467" y="949424"/>
                  <a:pt x="1395669" y="1031243"/>
                </a:cubicBezTo>
                <a:cubicBezTo>
                  <a:pt x="1311871" y="1113062"/>
                  <a:pt x="1198308" y="1160853"/>
                  <a:pt x="1079208" y="1160853"/>
                </a:cubicBezTo>
                <a:cubicBezTo>
                  <a:pt x="960109" y="1160853"/>
                  <a:pt x="846546" y="1113062"/>
                  <a:pt x="762748" y="1031243"/>
                </a:cubicBezTo>
                <a:cubicBezTo>
                  <a:pt x="678950" y="949424"/>
                  <a:pt x="624916" y="833577"/>
                  <a:pt x="624916" y="697463"/>
                </a:cubicBezTo>
                <a:cubicBezTo>
                  <a:pt x="624916" y="618236"/>
                  <a:pt x="642018" y="537734"/>
                  <a:pt x="673201" y="463015"/>
                </a:cubicBezTo>
                <a:cubicBezTo>
                  <a:pt x="704383" y="388296"/>
                  <a:pt x="749646" y="319359"/>
                  <a:pt x="805966" y="263259"/>
                </a:cubicBezTo>
                <a:close/>
                <a:moveTo>
                  <a:pt x="817834" y="0"/>
                </a:moveTo>
                <a:cubicBezTo>
                  <a:pt x="866589" y="0"/>
                  <a:pt x="917272" y="5772"/>
                  <a:pt x="963091" y="14770"/>
                </a:cubicBezTo>
                <a:cubicBezTo>
                  <a:pt x="1008909" y="23768"/>
                  <a:pt x="1049865" y="35991"/>
                  <a:pt x="1079167" y="48893"/>
                </a:cubicBezTo>
                <a:cubicBezTo>
                  <a:pt x="1107617" y="35545"/>
                  <a:pt x="1148593" y="23322"/>
                  <a:pt x="1194646" y="14436"/>
                </a:cubicBezTo>
                <a:cubicBezTo>
                  <a:pt x="1240699" y="5549"/>
                  <a:pt x="1291827" y="0"/>
                  <a:pt x="1340583" y="0"/>
                </a:cubicBezTo>
                <a:cubicBezTo>
                  <a:pt x="1448034" y="0"/>
                  <a:pt x="1552874" y="25401"/>
                  <a:pt x="1649693" y="72213"/>
                </a:cubicBezTo>
                <a:cubicBezTo>
                  <a:pt x="1746513" y="119025"/>
                  <a:pt x="1835310" y="187248"/>
                  <a:pt x="1910677" y="272891"/>
                </a:cubicBezTo>
                <a:cubicBezTo>
                  <a:pt x="1986043" y="358535"/>
                  <a:pt x="2047978" y="461600"/>
                  <a:pt x="2091072" y="578096"/>
                </a:cubicBezTo>
                <a:cubicBezTo>
                  <a:pt x="2134165" y="694592"/>
                  <a:pt x="2158417" y="824518"/>
                  <a:pt x="2158417" y="963886"/>
                </a:cubicBezTo>
                <a:cubicBezTo>
                  <a:pt x="2158417" y="1115873"/>
                  <a:pt x="2127372" y="1259243"/>
                  <a:pt x="2071704" y="1388805"/>
                </a:cubicBezTo>
                <a:cubicBezTo>
                  <a:pt x="2016036" y="1518366"/>
                  <a:pt x="1935744" y="1634120"/>
                  <a:pt x="1837251" y="1730875"/>
                </a:cubicBezTo>
                <a:cubicBezTo>
                  <a:pt x="1738759" y="1827631"/>
                  <a:pt x="1622064" y="1905388"/>
                  <a:pt x="1493585" y="1958956"/>
                </a:cubicBezTo>
                <a:cubicBezTo>
                  <a:pt x="1365105" y="2012524"/>
                  <a:pt x="1224841" y="2041903"/>
                  <a:pt x="1079208" y="2041903"/>
                </a:cubicBezTo>
                <a:cubicBezTo>
                  <a:pt x="933576" y="2041903"/>
                  <a:pt x="793312" y="2012524"/>
                  <a:pt x="664832" y="1958956"/>
                </a:cubicBezTo>
                <a:cubicBezTo>
                  <a:pt x="536353" y="1905388"/>
                  <a:pt x="419658" y="1827631"/>
                  <a:pt x="321166" y="1730875"/>
                </a:cubicBezTo>
                <a:cubicBezTo>
                  <a:pt x="222673" y="1634120"/>
                  <a:pt x="142381" y="1518366"/>
                  <a:pt x="86713" y="1388805"/>
                </a:cubicBezTo>
                <a:cubicBezTo>
                  <a:pt x="31045" y="1259243"/>
                  <a:pt x="0" y="1115873"/>
                  <a:pt x="0" y="963886"/>
                </a:cubicBezTo>
                <a:cubicBezTo>
                  <a:pt x="0" y="824518"/>
                  <a:pt x="24252" y="694592"/>
                  <a:pt x="67345" y="578096"/>
                </a:cubicBezTo>
                <a:cubicBezTo>
                  <a:pt x="110439" y="461600"/>
                  <a:pt x="172374" y="358535"/>
                  <a:pt x="247740" y="272891"/>
                </a:cubicBezTo>
                <a:cubicBezTo>
                  <a:pt x="323106" y="187248"/>
                  <a:pt x="411904" y="119025"/>
                  <a:pt x="508723" y="72213"/>
                </a:cubicBezTo>
                <a:cubicBezTo>
                  <a:pt x="605542" y="25401"/>
                  <a:pt x="710382" y="0"/>
                  <a:pt x="817834" y="0"/>
                </a:cubicBezTo>
                <a:close/>
              </a:path>
            </a:pathLst>
          </a:custGeom>
          <a:solidFill>
            <a:srgbClr val="0072BC"/>
          </a:solidFill>
          <a:ln w="763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6940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800" kern="1200" dirty="0">
          <a:solidFill>
            <a:schemeClr val="bg1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227013" indent="-227013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98513" indent="-28575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712913" indent="-28575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874404F-43CD-40C8-B408-4B36050B40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33375"/>
            <a:ext cx="11449050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44632A-2918-4D07-821E-9CC4B7A378DA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7B7396-CF44-41A3-ABC7-B95299F0C0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pt-BR"/>
              <a:t>© 2023 NTT DATA Americas, Inc.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603A65-CACD-4E1E-A1C2-FC8F9891C1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fik 6" descr="NTT DATA Logo">
            <a:extLst>
              <a:ext uri="{FF2B5EF4-FFF2-40B4-BE49-F238E27FC236}">
                <a16:creationId xmlns:a16="http://schemas.microsoft.com/office/drawing/2014/main" id="{1DB40E02-E43E-21B5-7D2A-60B35F0977A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531554" y="6449745"/>
            <a:ext cx="1288971" cy="26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253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>
          <a:solidFill>
            <a:schemeClr val="accent1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lang="en-US" sz="1800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lang="en-US" sz="1800" kern="1200" dirty="0">
          <a:solidFill>
            <a:schemeClr val="tx2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»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»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>
          <p15:clr>
            <a:srgbClr val="F26B43"/>
          </p15:clr>
        </p15:guide>
        <p15:guide id="3" orient="horz" pos="890">
          <p15:clr>
            <a:srgbClr val="F26B43"/>
          </p15:clr>
        </p15:guide>
        <p15:guide id="4" orient="horz" pos="3929">
          <p15:clr>
            <a:srgbClr val="F26B43"/>
          </p15:clr>
        </p15:guide>
        <p15:guide id="5" pos="234">
          <p15:clr>
            <a:srgbClr val="F26B43"/>
          </p15:clr>
        </p15:guide>
        <p15:guide id="6" pos="3840">
          <p15:clr>
            <a:srgbClr val="F26B43"/>
          </p15:clr>
        </p15:guide>
        <p15:guide id="8" pos="744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874404F-43CD-40C8-B408-4B36050B40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33375"/>
            <a:ext cx="11449050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44632A-2918-4D07-821E-9CC4B7A378DA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7B7396-CF44-41A3-ABC7-B95299F0C0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603A65-CACD-4E1E-A1C2-FC8F9891C1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fik 6" descr="NTT DATA Logo">
            <a:extLst>
              <a:ext uri="{FF2B5EF4-FFF2-40B4-BE49-F238E27FC236}">
                <a16:creationId xmlns:a16="http://schemas.microsoft.com/office/drawing/2014/main" id="{1DB40E02-E43E-21B5-7D2A-60B35F0977A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71">
            <a:extLst>
              <a:ext uri="{96DAC541-7B7A-43D3-8B79-37D633B846F1}">
                <asvg:svgBlip xmlns:asvg="http://schemas.microsoft.com/office/drawing/2016/SVG/main" r:embed="rId72"/>
              </a:ext>
            </a:extLst>
          </a:blip>
          <a:stretch>
            <a:fillRect/>
          </a:stretch>
        </p:blipFill>
        <p:spPr>
          <a:xfrm>
            <a:off x="10531554" y="6449745"/>
            <a:ext cx="1288971" cy="26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7101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  <p:sldLayoutId id="2147483710" r:id="rId18"/>
    <p:sldLayoutId id="2147483711" r:id="rId19"/>
    <p:sldLayoutId id="2147483712" r:id="rId20"/>
    <p:sldLayoutId id="2147483713" r:id="rId21"/>
    <p:sldLayoutId id="2147483714" r:id="rId22"/>
    <p:sldLayoutId id="2147483715" r:id="rId23"/>
    <p:sldLayoutId id="2147483716" r:id="rId24"/>
    <p:sldLayoutId id="2147483717" r:id="rId25"/>
    <p:sldLayoutId id="2147483718" r:id="rId26"/>
    <p:sldLayoutId id="2147483719" r:id="rId27"/>
    <p:sldLayoutId id="2147483720" r:id="rId28"/>
    <p:sldLayoutId id="2147483721" r:id="rId29"/>
    <p:sldLayoutId id="2147483722" r:id="rId30"/>
    <p:sldLayoutId id="2147483723" r:id="rId31"/>
    <p:sldLayoutId id="2147483724" r:id="rId32"/>
    <p:sldLayoutId id="2147483725" r:id="rId33"/>
    <p:sldLayoutId id="2147483726" r:id="rId34"/>
    <p:sldLayoutId id="2147483727" r:id="rId35"/>
    <p:sldLayoutId id="2147483728" r:id="rId36"/>
    <p:sldLayoutId id="2147483729" r:id="rId37"/>
    <p:sldLayoutId id="2147483730" r:id="rId38"/>
    <p:sldLayoutId id="2147483731" r:id="rId39"/>
    <p:sldLayoutId id="2147483732" r:id="rId40"/>
    <p:sldLayoutId id="2147483733" r:id="rId41"/>
    <p:sldLayoutId id="2147483734" r:id="rId42"/>
    <p:sldLayoutId id="2147483735" r:id="rId43"/>
    <p:sldLayoutId id="2147483736" r:id="rId44"/>
    <p:sldLayoutId id="2147483737" r:id="rId45"/>
    <p:sldLayoutId id="2147483738" r:id="rId46"/>
    <p:sldLayoutId id="2147483739" r:id="rId47"/>
    <p:sldLayoutId id="2147483740" r:id="rId48"/>
    <p:sldLayoutId id="2147483741" r:id="rId49"/>
    <p:sldLayoutId id="2147483742" r:id="rId50"/>
    <p:sldLayoutId id="2147483743" r:id="rId51"/>
    <p:sldLayoutId id="2147483744" r:id="rId52"/>
    <p:sldLayoutId id="2147483745" r:id="rId53"/>
    <p:sldLayoutId id="2147483746" r:id="rId54"/>
    <p:sldLayoutId id="2147483747" r:id="rId55"/>
    <p:sldLayoutId id="2147483748" r:id="rId56"/>
    <p:sldLayoutId id="2147483749" r:id="rId57"/>
    <p:sldLayoutId id="2147483750" r:id="rId58"/>
    <p:sldLayoutId id="2147483751" r:id="rId59"/>
    <p:sldLayoutId id="2147483752" r:id="rId60"/>
    <p:sldLayoutId id="2147483753" r:id="rId61"/>
    <p:sldLayoutId id="2147483754" r:id="rId62"/>
    <p:sldLayoutId id="2147483755" r:id="rId63"/>
    <p:sldLayoutId id="2147483756" r:id="rId64"/>
    <p:sldLayoutId id="2147483757" r:id="rId65"/>
    <p:sldLayoutId id="2147483758" r:id="rId66"/>
    <p:sldLayoutId id="2147483759" r:id="rId67"/>
    <p:sldLayoutId id="2147483760" r:id="rId68"/>
    <p:sldLayoutId id="2147483761" r:id="rId6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>
          <a:solidFill>
            <a:schemeClr val="accent1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lang="en-US" sz="1800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lang="en-US" sz="1800" kern="1200" dirty="0">
          <a:solidFill>
            <a:schemeClr val="tx2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»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»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>
          <p15:clr>
            <a:srgbClr val="F26B43"/>
          </p15:clr>
        </p15:guide>
        <p15:guide id="3" orient="horz" pos="890">
          <p15:clr>
            <a:srgbClr val="F26B43"/>
          </p15:clr>
        </p15:guide>
        <p15:guide id="4" orient="horz" pos="3929">
          <p15:clr>
            <a:srgbClr val="F26B43"/>
          </p15:clr>
        </p15:guide>
        <p15:guide id="5" pos="234">
          <p15:clr>
            <a:srgbClr val="F26B43"/>
          </p15:clr>
        </p15:guide>
        <p15:guide id="6" pos="3840">
          <p15:clr>
            <a:srgbClr val="F26B43"/>
          </p15:clr>
        </p15:guide>
        <p15:guide id="8" pos="7446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874404F-43CD-40C8-B408-4B36050B40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33375"/>
            <a:ext cx="11449050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44632A-2918-4D07-821E-9CC4B7A378DA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7B7396-CF44-41A3-ABC7-B95299F0C0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pt-BR"/>
              <a:t>© 2023 NTT DATA Americas, Inc.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603A65-CACD-4E1E-A1C2-FC8F9891C1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fik 6" descr="NTT DATA Logo">
            <a:extLst>
              <a:ext uri="{FF2B5EF4-FFF2-40B4-BE49-F238E27FC236}">
                <a16:creationId xmlns:a16="http://schemas.microsoft.com/office/drawing/2014/main" id="{1DB40E02-E43E-21B5-7D2A-60B35F0977A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10531554" y="6449745"/>
            <a:ext cx="1288971" cy="26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56114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  <p:sldLayoutId id="2147483774" r:id="rId12"/>
    <p:sldLayoutId id="2147483775" r:id="rId13"/>
    <p:sldLayoutId id="2147483776" r:id="rId14"/>
    <p:sldLayoutId id="2147483777" r:id="rId15"/>
    <p:sldLayoutId id="2147483778" r:id="rId16"/>
    <p:sldLayoutId id="2147483779" r:id="rId17"/>
    <p:sldLayoutId id="2147483780" r:id="rId18"/>
    <p:sldLayoutId id="2147483781" r:id="rId19"/>
    <p:sldLayoutId id="2147483782" r:id="rId20"/>
    <p:sldLayoutId id="2147483783" r:id="rId21"/>
    <p:sldLayoutId id="2147483784" r:id="rId22"/>
    <p:sldLayoutId id="2147483785" r:id="rId23"/>
    <p:sldLayoutId id="2147483786" r:id="rId24"/>
    <p:sldLayoutId id="2147483787" r:id="rId25"/>
    <p:sldLayoutId id="2147483788" r:id="rId26"/>
    <p:sldLayoutId id="2147483789" r:id="rId2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>
          <a:solidFill>
            <a:schemeClr val="accent1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lang="en-US" sz="1800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lang="en-US" sz="1800" kern="1200" dirty="0">
          <a:solidFill>
            <a:schemeClr val="tx2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»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»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>
          <p15:clr>
            <a:srgbClr val="F26B43"/>
          </p15:clr>
        </p15:guide>
        <p15:guide id="3" orient="horz" pos="890">
          <p15:clr>
            <a:srgbClr val="F26B43"/>
          </p15:clr>
        </p15:guide>
        <p15:guide id="4" orient="horz" pos="3929">
          <p15:clr>
            <a:srgbClr val="F26B43"/>
          </p15:clr>
        </p15:guide>
        <p15:guide id="5" pos="234">
          <p15:clr>
            <a:srgbClr val="F26B43"/>
          </p15:clr>
        </p15:guide>
        <p15:guide id="6" pos="3840">
          <p15:clr>
            <a:srgbClr val="F26B43"/>
          </p15:clr>
        </p15:guide>
        <p15:guide id="8" pos="744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0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13" Type="http://schemas.openxmlformats.org/officeDocument/2006/relationships/image" Target="../media/image37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12" Type="http://schemas.openxmlformats.org/officeDocument/2006/relationships/image" Target="../media/image36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2.xml"/><Relationship Id="rId6" Type="http://schemas.openxmlformats.org/officeDocument/2006/relationships/image" Target="../media/image30.svg"/><Relationship Id="rId11" Type="http://schemas.openxmlformats.org/officeDocument/2006/relationships/image" Target="../media/image35.png"/><Relationship Id="rId5" Type="http://schemas.openxmlformats.org/officeDocument/2006/relationships/image" Target="../media/image29.png"/><Relationship Id="rId10" Type="http://schemas.openxmlformats.org/officeDocument/2006/relationships/image" Target="../media/image34.svg"/><Relationship Id="rId4" Type="http://schemas.openxmlformats.org/officeDocument/2006/relationships/image" Target="../media/image28.svg"/><Relationship Id="rId9" Type="http://schemas.openxmlformats.org/officeDocument/2006/relationships/image" Target="../media/image33.png"/><Relationship Id="rId14" Type="http://schemas.openxmlformats.org/officeDocument/2006/relationships/image" Target="../media/image38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2.xml"/><Relationship Id="rId4" Type="http://schemas.openxmlformats.org/officeDocument/2006/relationships/image" Target="../media/image40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2.xml"/><Relationship Id="rId4" Type="http://schemas.openxmlformats.org/officeDocument/2006/relationships/image" Target="../media/image42.sv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2.xml"/><Relationship Id="rId4" Type="http://schemas.openxmlformats.org/officeDocument/2006/relationships/image" Target="../media/image4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ity skyline in the distance&#10;&#10;AI-generated content may be incorrect.">
            <a:extLst>
              <a:ext uri="{FF2B5EF4-FFF2-40B4-BE49-F238E27FC236}">
                <a16:creationId xmlns:a16="http://schemas.microsoft.com/office/drawing/2014/main" id="{280A3B43-131B-5C02-8554-F4D5705571C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96" b="7796"/>
          <a:stretch/>
        </p:blipFill>
        <p:spPr>
          <a:xfrm>
            <a:off x="-1" y="-1"/>
            <a:ext cx="12191981" cy="6857989"/>
          </a:xfrm>
          <a:prstGeom prst="rect">
            <a:avLst/>
          </a:prstGeom>
        </p:spPr>
      </p:pic>
      <p:sp>
        <p:nvSpPr>
          <p:cNvPr id="1033" name="Text Placeholder 1">
            <a:extLst>
              <a:ext uri="{FF2B5EF4-FFF2-40B4-BE49-F238E27FC236}">
                <a16:creationId xmlns:a16="http://schemas.microsoft.com/office/drawing/2014/main" id="{AD5B9972-9DA5-5453-7E5E-9FE69FF662E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9388"/>
            <a:ext cx="12192000" cy="6857999"/>
          </a:xfrm>
          <a:solidFill>
            <a:schemeClr val="tx1">
              <a:alpha val="2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041" name="Text Placeholder 8">
            <a:extLst>
              <a:ext uri="{FF2B5EF4-FFF2-40B4-BE49-F238E27FC236}">
                <a16:creationId xmlns:a16="http://schemas.microsoft.com/office/drawing/2014/main" id="{2EBDE8D2-D93A-38A0-D18C-BE9D0322B7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1475" y="320040"/>
            <a:ext cx="1959724" cy="400077"/>
          </a:xfrm>
        </p:spPr>
        <p:txBody>
          <a:bodyPr/>
          <a:lstStyle/>
          <a:p>
            <a:endParaRPr lang="en-US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BE622C98-2DE7-5083-F959-9BE3E4CB146C}"/>
              </a:ext>
            </a:extLst>
          </p:cNvPr>
          <p:cNvSpPr txBox="1">
            <a:spLocks/>
          </p:cNvSpPr>
          <p:nvPr/>
        </p:nvSpPr>
        <p:spPr bwMode="gray">
          <a:xfrm>
            <a:off x="257856" y="6462924"/>
            <a:ext cx="3334251" cy="395869"/>
          </a:xfrm>
          <a:prstGeom prst="rect">
            <a:avLst/>
          </a:prstGeom>
          <a:ln>
            <a:noFill/>
          </a:ln>
        </p:spPr>
        <p:txBody>
          <a:bodyPr vert="horz" wrap="square" lIns="36000" tIns="36000" rIns="36000" bIns="36000" rtlCol="0">
            <a:normAutofit/>
          </a:bodyPr>
          <a:lstStyle>
            <a:lvl1pPr marL="0" indent="0" algn="ctr" defTabSz="609555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kumimoji="1"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10099" indent="-300543" algn="l" defTabSz="609555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kumimoji="1"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454042" indent="-234933" algn="l" defTabSz="609555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kumimoji="1"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059363" indent="-230701" algn="l" defTabSz="609555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kumimoji="1"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666800" indent="-228584" algn="l" defTabSz="609555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548" indent="-304776" algn="l" defTabSz="609555" rtl="0" eaLnBrk="1" latinLnBrk="0" hangingPunct="1">
              <a:spcBef>
                <a:spcPct val="20000"/>
              </a:spcBef>
              <a:buFont typeface="Arial"/>
              <a:buChar char="•"/>
              <a:defRPr kumimoji="1"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104" indent="-304776" algn="l" defTabSz="609555" rtl="0" eaLnBrk="1" latinLnBrk="0" hangingPunct="1">
              <a:spcBef>
                <a:spcPct val="20000"/>
              </a:spcBef>
              <a:buFont typeface="Arial"/>
              <a:buChar char="•"/>
              <a:defRPr kumimoji="1"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658" indent="-304776" algn="l" defTabSz="609555" rtl="0" eaLnBrk="1" latinLnBrk="0" hangingPunct="1">
              <a:spcBef>
                <a:spcPct val="20000"/>
              </a:spcBef>
              <a:buFont typeface="Arial"/>
              <a:buChar char="•"/>
              <a:defRPr kumimoji="1"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212" indent="-304776" algn="l" defTabSz="609555" rtl="0" eaLnBrk="1" latinLnBrk="0" hangingPunct="1">
              <a:spcBef>
                <a:spcPct val="20000"/>
              </a:spcBef>
              <a:buFont typeface="Arial"/>
              <a:buChar char="•"/>
              <a:defRPr kumimoji="1"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1" lang="en-US" sz="700" b="0" i="0" u="none" strike="noStrike" kern="1200" cap="none" spc="0" normalizeH="0" baseline="0" noProof="0">
                <a:ln>
                  <a:noFill/>
                </a:ln>
                <a:solidFill>
                  <a:srgbClr val="7F7F7F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© 2025 NTT DATA Inc. All rights reserved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F0ACB91-5389-5F69-74E5-1102C2EBC165}"/>
              </a:ext>
            </a:extLst>
          </p:cNvPr>
          <p:cNvSpPr/>
          <p:nvPr/>
        </p:nvSpPr>
        <p:spPr>
          <a:xfrm>
            <a:off x="19" y="4242581"/>
            <a:ext cx="12191981" cy="1897178"/>
          </a:xfrm>
          <a:prstGeom prst="rect">
            <a:avLst/>
          </a:prstGeom>
          <a:solidFill>
            <a:schemeClr val="tx1">
              <a:alpha val="49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Title">
            <a:extLst>
              <a:ext uri="{FF2B5EF4-FFF2-40B4-BE49-F238E27FC236}">
                <a16:creationId xmlns:a16="http://schemas.microsoft.com/office/drawing/2014/main" id="{AC1994AA-CB19-824C-CBCD-5A58B9CE6D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4261" y="4556633"/>
            <a:ext cx="7079203" cy="634537"/>
          </a:xfrm>
        </p:spPr>
        <p:txBody>
          <a:bodyPr vert="horz" lIns="0" tIns="45720" rIns="0" bIns="45720" rtlCol="0" anchor="b">
            <a:normAutofit fontScale="90000"/>
          </a:bodyPr>
          <a:lstStyle/>
          <a:p>
            <a:r>
              <a:rPr lang="en-US" sz="4000"/>
              <a:t>Observability Assessment Plan</a:t>
            </a:r>
            <a:endParaRPr lang="en-US" sz="4000" b="0" i="0" kern="1200">
              <a:latin typeface="+mj-lt"/>
              <a:ea typeface="+mj-ea"/>
              <a:cs typeface="Times New Roman" panose="02020603050405020304" pitchFamily="18" charset="0"/>
            </a:endParaRPr>
          </a:p>
        </p:txBody>
      </p:sp>
      <p:sp>
        <p:nvSpPr>
          <p:cNvPr id="1039" name="Subtitle 7">
            <a:extLst>
              <a:ext uri="{FF2B5EF4-FFF2-40B4-BE49-F238E27FC236}">
                <a16:creationId xmlns:a16="http://schemas.microsoft.com/office/drawing/2014/main" id="{68505133-0DB6-77F2-0D96-A952260B90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1474" y="5547252"/>
            <a:ext cx="6797992" cy="323165"/>
          </a:xfrm>
        </p:spPr>
        <p:txBody>
          <a:bodyPr/>
          <a:lstStyle/>
          <a:p>
            <a:r>
              <a:rPr lang="en-US" sz="1800">
                <a:latin typeface="+mj-lt"/>
                <a:ea typeface="+mj-ea"/>
                <a:cs typeface="Times New Roman" panose="02020603050405020304" pitchFamily="18" charset="0"/>
              </a:rPr>
              <a:t>March 2025</a:t>
            </a:r>
          </a:p>
        </p:txBody>
      </p:sp>
      <p:sp>
        <p:nvSpPr>
          <p:cNvPr id="1037" name="Text Placeholder 4">
            <a:extLst>
              <a:ext uri="{FF2B5EF4-FFF2-40B4-BE49-F238E27FC236}">
                <a16:creationId xmlns:a16="http://schemas.microsoft.com/office/drawing/2014/main" id="{481EE240-06EF-E615-0375-950B07B7776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637463" y="1587"/>
            <a:ext cx="4554537" cy="6856413"/>
          </a:xfrm>
        </p:spPr>
        <p:txBody>
          <a:bodyPr/>
          <a:lstStyle/>
          <a:p>
            <a:endParaRPr lang="en-US"/>
          </a:p>
        </p:txBody>
      </p:sp>
      <p:pic>
        <p:nvPicPr>
          <p:cNvPr id="1028" name="Picture 4" descr="Allied Irish Banks - Wikipedia">
            <a:extLst>
              <a:ext uri="{FF2B5EF4-FFF2-40B4-BE49-F238E27FC236}">
                <a16:creationId xmlns:a16="http://schemas.microsoft.com/office/drawing/2014/main" id="{DBB616F2-2A53-3C35-6FB7-6D5061008B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47588" y="320040"/>
            <a:ext cx="696262" cy="696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87662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E81E44-5791-F75A-6B8F-E66569ED42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14B7398-2A5E-EF90-8D58-CE4E363D28FC}"/>
              </a:ext>
            </a:extLst>
          </p:cNvPr>
          <p:cNvSpPr/>
          <p:nvPr/>
        </p:nvSpPr>
        <p:spPr>
          <a:xfrm>
            <a:off x="0" y="0"/>
            <a:ext cx="4852035" cy="6857999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0"/>
                </a:schemeClr>
              </a:gs>
              <a:gs pos="50000">
                <a:schemeClr val="accent3">
                  <a:lumMod val="75000"/>
                </a:schemeClr>
              </a:gs>
              <a:gs pos="100000">
                <a:schemeClr val="accent2">
                  <a:lumMod val="7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5C0D311-5E72-6158-DE88-AAC453D561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166" y="2306206"/>
            <a:ext cx="4281533" cy="581559"/>
          </a:xfrm>
        </p:spPr>
        <p:txBody>
          <a:bodyPr/>
          <a:lstStyle/>
          <a:p>
            <a:r>
              <a:rPr lang="en-US" sz="4800">
                <a:solidFill>
                  <a:schemeClr val="bg1"/>
                </a:solidFill>
              </a:rPr>
              <a:t>Key Deliverab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232AD32-2CC7-3EB5-18AF-25F31A37E10D}"/>
              </a:ext>
            </a:extLst>
          </p:cNvPr>
          <p:cNvSpPr txBox="1">
            <a:spLocks/>
          </p:cNvSpPr>
          <p:nvPr/>
        </p:nvSpPr>
        <p:spPr bwMode="gray">
          <a:xfrm>
            <a:off x="430167" y="480949"/>
            <a:ext cx="1664447" cy="119146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800" b="0" i="0" u="none" strike="noStrike" kern="1200" cap="none" spc="0" normalizeH="0" baseline="0" noProof="0">
                <a:ln>
                  <a:noFill/>
                </a:ln>
                <a:solidFill>
                  <a:srgbClr val="19A3FC"/>
                </a:solidFill>
                <a:effectLst/>
                <a:uLnTx/>
                <a:uFillTx/>
                <a:latin typeface="Georgia" panose="02040502050405020303" pitchFamily="18" charset="0"/>
                <a:ea typeface="+mj-ea"/>
                <a:cs typeface="+mj-cs"/>
              </a:rPr>
              <a:t>05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A0C36A65-F6CA-F76A-3DEC-CE0288096C3D}"/>
              </a:ext>
            </a:extLst>
          </p:cNvPr>
          <p:cNvSpPr txBox="1">
            <a:spLocks/>
          </p:cNvSpPr>
          <p:nvPr/>
        </p:nvSpPr>
        <p:spPr>
          <a:xfrm>
            <a:off x="240847" y="6524626"/>
            <a:ext cx="4852035" cy="17489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5 NTT DATA Inc.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FD3B53EB-D391-514F-FF78-9BABC7175EE4}"/>
              </a:ext>
            </a:extLst>
          </p:cNvPr>
          <p:cNvSpPr txBox="1">
            <a:spLocks/>
          </p:cNvSpPr>
          <p:nvPr/>
        </p:nvSpPr>
        <p:spPr bwMode="gray">
          <a:xfrm>
            <a:off x="5943600" y="6563358"/>
            <a:ext cx="304800" cy="88901"/>
          </a:xfrm>
          <a:prstGeom prst="rect">
            <a:avLst/>
          </a:prstGeom>
          <a:ln w="3175"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lnSpc>
                <a:spcPct val="100000"/>
              </a:lnSpc>
              <a:defRPr lang="en-US"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E6DAF-806F-404B-BC68-339BFCB57E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70F2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70F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0" name="Graphic 19" descr="Open book outline">
            <a:extLst>
              <a:ext uri="{FF2B5EF4-FFF2-40B4-BE49-F238E27FC236}">
                <a16:creationId xmlns:a16="http://schemas.microsoft.com/office/drawing/2014/main" id="{F8464EF4-D057-0F11-61CF-410DE0F9CB2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05157" y="636606"/>
            <a:ext cx="1106424" cy="1106424"/>
          </a:xfrm>
          <a:prstGeom prst="rect">
            <a:avLst/>
          </a:prstGeom>
        </p:spPr>
      </p:pic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51E33CAB-08FD-105B-400D-4C492AF5EABB}"/>
              </a:ext>
            </a:extLst>
          </p:cNvPr>
          <p:cNvSpPr/>
          <p:nvPr/>
        </p:nvSpPr>
        <p:spPr>
          <a:xfrm>
            <a:off x="5772632" y="1088537"/>
            <a:ext cx="5657850" cy="695294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rrent State Analysis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C6B70D2-4885-6896-1867-4240F1B594CF}"/>
              </a:ext>
            </a:extLst>
          </p:cNvPr>
          <p:cNvSpPr/>
          <p:nvPr/>
        </p:nvSpPr>
        <p:spPr>
          <a:xfrm>
            <a:off x="5772632" y="2043556"/>
            <a:ext cx="5657850" cy="695294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nchmarking &amp; Best Practices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F4DC376D-B37A-2C81-65B7-32A181D9EA5F}"/>
              </a:ext>
            </a:extLst>
          </p:cNvPr>
          <p:cNvSpPr/>
          <p:nvPr/>
        </p:nvSpPr>
        <p:spPr>
          <a:xfrm>
            <a:off x="5772632" y="2998575"/>
            <a:ext cx="5657850" cy="695294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ys of Working Improvements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1C4BAD5D-0529-8DAA-6974-96564F9FC6D1}"/>
              </a:ext>
            </a:extLst>
          </p:cNvPr>
          <p:cNvSpPr/>
          <p:nvPr/>
        </p:nvSpPr>
        <p:spPr>
          <a:xfrm>
            <a:off x="5772632" y="3953594"/>
            <a:ext cx="5657850" cy="695294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isk &amp; Reward Matrix</a:t>
            </a:r>
            <a:endParaRPr kumimoji="0" lang="en-US" i="1" u="none" strike="noStrike" kern="1200" cap="none" spc="0" normalizeH="0" baseline="0" noProof="0">
              <a:ln>
                <a:noFill/>
              </a:ln>
              <a:solidFill>
                <a:schemeClr val="accent1">
                  <a:lumMod val="75000"/>
                  <a:lumOff val="25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41EF2F6B-A64E-699F-8373-56951D324983}"/>
              </a:ext>
            </a:extLst>
          </p:cNvPr>
          <p:cNvSpPr/>
          <p:nvPr/>
        </p:nvSpPr>
        <p:spPr>
          <a:xfrm>
            <a:off x="5772632" y="4908611"/>
            <a:ext cx="5657850" cy="695294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Long-term Observability Roadmap</a:t>
            </a: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i="1">
                <a:solidFill>
                  <a:schemeClr val="accent1">
                    <a:lumMod val="75000"/>
                    <a:lumOff val="25000"/>
                  </a:schemeClr>
                </a:solidFill>
                <a:latin typeface="Arial"/>
              </a:rPr>
              <a:t>North star for enterprise-wide observability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B6409912-5FC1-7164-2B6D-4153B6CA2CBB}"/>
              </a:ext>
            </a:extLst>
          </p:cNvPr>
          <p:cNvSpPr/>
          <p:nvPr/>
        </p:nvSpPr>
        <p:spPr>
          <a:xfrm flipH="1">
            <a:off x="5422124" y="1058332"/>
            <a:ext cx="755703" cy="755703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50000">
                <a:schemeClr val="bg2">
                  <a:lumMod val="40000"/>
                  <a:lumOff val="60000"/>
                </a:schemeClr>
              </a:gs>
              <a:gs pos="100000">
                <a:schemeClr val="bg2">
                  <a:lumMod val="20000"/>
                  <a:lumOff val="8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19A3F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56AA305B-BC04-AAE8-1839-A10DE3B0EDD7}"/>
              </a:ext>
            </a:extLst>
          </p:cNvPr>
          <p:cNvSpPr/>
          <p:nvPr/>
        </p:nvSpPr>
        <p:spPr>
          <a:xfrm flipH="1">
            <a:off x="5422124" y="2013350"/>
            <a:ext cx="755703" cy="755703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50000">
                <a:schemeClr val="bg2">
                  <a:lumMod val="40000"/>
                  <a:lumOff val="60000"/>
                </a:schemeClr>
              </a:gs>
              <a:gs pos="100000">
                <a:schemeClr val="bg2">
                  <a:lumMod val="20000"/>
                  <a:lumOff val="8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19A3F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F03F4E01-3DC6-D009-A62B-048E4FF7DD23}"/>
              </a:ext>
            </a:extLst>
          </p:cNvPr>
          <p:cNvSpPr/>
          <p:nvPr/>
        </p:nvSpPr>
        <p:spPr>
          <a:xfrm flipH="1">
            <a:off x="5422124" y="2968368"/>
            <a:ext cx="755703" cy="755703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50000">
                <a:schemeClr val="bg2">
                  <a:lumMod val="40000"/>
                  <a:lumOff val="60000"/>
                </a:schemeClr>
              </a:gs>
              <a:gs pos="100000">
                <a:schemeClr val="bg2">
                  <a:lumMod val="20000"/>
                  <a:lumOff val="8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19A3F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AAB63E7E-F8AF-0B0D-E19A-7A5E46274B46}"/>
              </a:ext>
            </a:extLst>
          </p:cNvPr>
          <p:cNvSpPr/>
          <p:nvPr/>
        </p:nvSpPr>
        <p:spPr>
          <a:xfrm flipH="1">
            <a:off x="5422124" y="3923386"/>
            <a:ext cx="755703" cy="755703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50000">
                <a:schemeClr val="bg2">
                  <a:lumMod val="40000"/>
                  <a:lumOff val="60000"/>
                </a:schemeClr>
              </a:gs>
              <a:gs pos="100000">
                <a:schemeClr val="bg2">
                  <a:lumMod val="20000"/>
                  <a:lumOff val="8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19A3F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89074B75-5915-2682-057A-4199589178AB}"/>
              </a:ext>
            </a:extLst>
          </p:cNvPr>
          <p:cNvSpPr/>
          <p:nvPr/>
        </p:nvSpPr>
        <p:spPr>
          <a:xfrm flipH="1">
            <a:off x="5422124" y="4878406"/>
            <a:ext cx="755703" cy="755703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50000">
                <a:schemeClr val="bg2">
                  <a:lumMod val="40000"/>
                  <a:lumOff val="60000"/>
                </a:schemeClr>
              </a:gs>
              <a:gs pos="100000">
                <a:schemeClr val="bg2">
                  <a:lumMod val="20000"/>
                  <a:lumOff val="8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19A3F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7D56643-BE78-409B-EB7A-C3FB4610FBA2}"/>
              </a:ext>
            </a:extLst>
          </p:cNvPr>
          <p:cNvCxnSpPr/>
          <p:nvPr/>
        </p:nvCxnSpPr>
        <p:spPr>
          <a:xfrm>
            <a:off x="355739" y="4156241"/>
            <a:ext cx="408867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1">
            <a:extLst>
              <a:ext uri="{FF2B5EF4-FFF2-40B4-BE49-F238E27FC236}">
                <a16:creationId xmlns:a16="http://schemas.microsoft.com/office/drawing/2014/main" id="{92EC8395-1CAC-EF12-F7F0-E813E08BB0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130425" y="7075339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 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4BFE9B9-AD3A-8579-6F89-6E4032CF2E6A}"/>
              </a:ext>
            </a:extLst>
          </p:cNvPr>
          <p:cNvSpPr txBox="1"/>
          <p:nvPr/>
        </p:nvSpPr>
        <p:spPr>
          <a:xfrm>
            <a:off x="483961" y="4491858"/>
            <a:ext cx="3832226" cy="28689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/>
            <a:r>
              <a:rPr lang="en-US" sz="1400" i="1">
                <a:solidFill>
                  <a:srgbClr val="FF0000"/>
                </a:solidFill>
              </a:rPr>
              <a:t>*</a:t>
            </a:r>
            <a:r>
              <a:rPr lang="en-US" sz="1400" i="1">
                <a:solidFill>
                  <a:schemeClr val="bg1"/>
                </a:solidFill>
              </a:rPr>
              <a:t>All deliverables to be delivered by week 5, except deliverable #5, which will be delivered in week 6</a:t>
            </a:r>
            <a:endParaRPr lang="en-US" b="1" i="1">
              <a:solidFill>
                <a:schemeClr val="accent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40168A3-517F-3E7B-F909-FF8EBAE1BB3B}"/>
              </a:ext>
            </a:extLst>
          </p:cNvPr>
          <p:cNvSpPr txBox="1"/>
          <p:nvPr/>
        </p:nvSpPr>
        <p:spPr>
          <a:xfrm>
            <a:off x="5791508" y="5006036"/>
            <a:ext cx="2282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17971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87780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1C6A97-D370-B917-EF4F-3A5FCEEEB7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F998B3FD-04D5-508D-AD19-21C9DF3875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04801"/>
            <a:ext cx="11430000" cy="533399"/>
          </a:xfrm>
        </p:spPr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Agenda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7C5F3B95-52EB-AB7B-37D0-3D0AB5F8C95C}"/>
              </a:ext>
            </a:extLst>
          </p:cNvPr>
          <p:cNvSpPr txBox="1">
            <a:spLocks/>
          </p:cNvSpPr>
          <p:nvPr/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800" kern="1200">
                <a:solidFill>
                  <a:srgbClr val="6B6B6B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4 NTT DATA, Inc.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42570871-D28B-3FA8-6BBC-BE2752BA5D2D}"/>
              </a:ext>
            </a:extLst>
          </p:cNvPr>
          <p:cNvSpPr txBox="1">
            <a:spLocks/>
          </p:cNvSpPr>
          <p:nvPr/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800" kern="1200">
                <a:solidFill>
                  <a:srgbClr val="6B6B6B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E6DAF-806F-404B-BC68-339BFCB57E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6483B46-92C2-09B1-4A84-A184F70135BA}"/>
              </a:ext>
            </a:extLst>
          </p:cNvPr>
          <p:cNvSpPr/>
          <p:nvPr/>
        </p:nvSpPr>
        <p:spPr>
          <a:xfrm>
            <a:off x="5291305" y="781496"/>
            <a:ext cx="5454138" cy="361505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0" i="0" u="none" strike="noStrike" kern="1200" cap="none" spc="0" normalizeH="0" baseline="0" noProof="0">
                <a:ln>
                  <a:noFill/>
                </a:ln>
                <a:solidFill>
                  <a:srgbClr val="070F26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9574510-8922-E607-63FD-E3CB5746B1E2}"/>
              </a:ext>
            </a:extLst>
          </p:cNvPr>
          <p:cNvCxnSpPr>
            <a:cxnSpLocks/>
          </p:cNvCxnSpPr>
          <p:nvPr/>
        </p:nvCxnSpPr>
        <p:spPr>
          <a:xfrm>
            <a:off x="5503154" y="2755609"/>
            <a:ext cx="6048000" cy="0"/>
          </a:xfrm>
          <a:prstGeom prst="line">
            <a:avLst/>
          </a:prstGeom>
          <a:ln w="3175" cap="rnd">
            <a:solidFill>
              <a:schemeClr val="tx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DBA78E1-0297-3433-7F44-96051DA42AA4}"/>
              </a:ext>
            </a:extLst>
          </p:cNvPr>
          <p:cNvCxnSpPr>
            <a:cxnSpLocks/>
          </p:cNvCxnSpPr>
          <p:nvPr/>
        </p:nvCxnSpPr>
        <p:spPr>
          <a:xfrm>
            <a:off x="5501488" y="3561398"/>
            <a:ext cx="6048000" cy="0"/>
          </a:xfrm>
          <a:prstGeom prst="line">
            <a:avLst/>
          </a:prstGeom>
          <a:ln w="3175" cap="rnd">
            <a:solidFill>
              <a:schemeClr val="tx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C65E540C-F067-5B8E-88D5-3E95593855DF}"/>
              </a:ext>
            </a:extLst>
          </p:cNvPr>
          <p:cNvSpPr txBox="1"/>
          <p:nvPr/>
        </p:nvSpPr>
        <p:spPr>
          <a:xfrm>
            <a:off x="6175310" y="2205138"/>
            <a:ext cx="5004000" cy="312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100" marR="0" lvl="0" indent="0" algn="l" defTabSz="914400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Yu Gothic" panose="020B0400000000000000" pitchFamily="34" charset="-128"/>
                <a:cs typeface="+mn-cs"/>
              </a:rPr>
              <a:t>High Level Engagement Plan</a:t>
            </a:r>
            <a:endParaRPr kumimoji="0" lang="en-GB" sz="2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D12C6BC-DA4C-BD4D-48EA-E59D4724408C}"/>
              </a:ext>
            </a:extLst>
          </p:cNvPr>
          <p:cNvSpPr txBox="1"/>
          <p:nvPr/>
        </p:nvSpPr>
        <p:spPr>
          <a:xfrm>
            <a:off x="5383696" y="2060583"/>
            <a:ext cx="756000" cy="5842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100" marR="0" lvl="0" indent="0" algn="l" defTabSz="914400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19A3FC">
                    <a:lumMod val="50000"/>
                  </a:srgbClr>
                </a:solidFill>
                <a:effectLst/>
                <a:uLnTx/>
                <a:uFillTx/>
                <a:latin typeface="Walbaum Display" panose="02070503090703020303" pitchFamily="18" charset="0"/>
                <a:ea typeface="+mn-ea"/>
                <a:cs typeface="+mn-cs"/>
              </a:rPr>
              <a:t>01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CDF0735-65B4-C402-C7B0-968ECC9918B8}"/>
              </a:ext>
            </a:extLst>
          </p:cNvPr>
          <p:cNvSpPr txBox="1"/>
          <p:nvPr/>
        </p:nvSpPr>
        <p:spPr>
          <a:xfrm>
            <a:off x="6175310" y="3012048"/>
            <a:ext cx="5004000" cy="312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10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Yu Gothic" panose="020B0400000000000000" pitchFamily="34" charset="-128"/>
                <a:cs typeface="Aptos" panose="020B0004020202020204" pitchFamily="34" charset="0"/>
              </a:rPr>
              <a:t>Pre-Requisites for the Assessment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Yu Gothic" panose="020B0400000000000000" pitchFamily="34" charset="-128"/>
              <a:cs typeface="Aptos" panose="020B00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3E17ADA-A1E2-F89C-4B48-1CD6DAFF0937}"/>
              </a:ext>
            </a:extLst>
          </p:cNvPr>
          <p:cNvSpPr txBox="1"/>
          <p:nvPr/>
        </p:nvSpPr>
        <p:spPr>
          <a:xfrm>
            <a:off x="5383696" y="2866372"/>
            <a:ext cx="756000" cy="5842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100" marR="0" lvl="0" indent="0" algn="l" defTabSz="914400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19A3FC">
                    <a:lumMod val="50000"/>
                  </a:srgbClr>
                </a:solidFill>
                <a:effectLst/>
                <a:uLnTx/>
                <a:uFillTx/>
                <a:latin typeface="Walbaum Display" panose="02070503090703020303" pitchFamily="18" charset="0"/>
                <a:ea typeface="+mn-ea"/>
                <a:cs typeface="+mn-cs"/>
              </a:rPr>
              <a:t>02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C6C25D8-BC07-AF6C-B941-CD3338F3A227}"/>
              </a:ext>
            </a:extLst>
          </p:cNvPr>
          <p:cNvSpPr txBox="1"/>
          <p:nvPr/>
        </p:nvSpPr>
        <p:spPr>
          <a:xfrm>
            <a:off x="6175310" y="3818958"/>
            <a:ext cx="5004000" cy="312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10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Yu Gothic" panose="020B0400000000000000" pitchFamily="34" charset="-128"/>
                <a:cs typeface="Aptos" panose="020B0004020202020204" pitchFamily="34" charset="0"/>
              </a:rPr>
              <a:t>Detailed Workshops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Yu Gothic" panose="020B0400000000000000" pitchFamily="34" charset="-128"/>
              <a:cs typeface="Aptos" panose="020B00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259F1C8-332E-F2B0-DB43-F321EF049594}"/>
              </a:ext>
            </a:extLst>
          </p:cNvPr>
          <p:cNvSpPr txBox="1"/>
          <p:nvPr/>
        </p:nvSpPr>
        <p:spPr>
          <a:xfrm>
            <a:off x="5383696" y="3672161"/>
            <a:ext cx="756000" cy="5842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100" marR="0" lvl="0" indent="0" algn="l" defTabSz="914400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19A3FC">
                    <a:lumMod val="50000"/>
                  </a:srgbClr>
                </a:solidFill>
                <a:effectLst/>
                <a:uLnTx/>
                <a:uFillTx/>
                <a:latin typeface="Walbaum Display" panose="02070503090703020303" pitchFamily="18" charset="0"/>
                <a:ea typeface="+mn-ea"/>
                <a:cs typeface="+mn-cs"/>
              </a:rPr>
              <a:t>03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3CB5777-F4C6-8C3A-2A42-3B36E22407A3}"/>
              </a:ext>
            </a:extLst>
          </p:cNvPr>
          <p:cNvCxnSpPr>
            <a:cxnSpLocks/>
          </p:cNvCxnSpPr>
          <p:nvPr/>
        </p:nvCxnSpPr>
        <p:spPr>
          <a:xfrm>
            <a:off x="5503154" y="4367187"/>
            <a:ext cx="6048000" cy="0"/>
          </a:xfrm>
          <a:prstGeom prst="line">
            <a:avLst/>
          </a:prstGeom>
          <a:ln w="3175" cap="rnd">
            <a:solidFill>
              <a:schemeClr val="tx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25968B7-9373-DCDE-3617-6AFFD6E1500A}"/>
              </a:ext>
            </a:extLst>
          </p:cNvPr>
          <p:cNvCxnSpPr>
            <a:cxnSpLocks/>
          </p:cNvCxnSpPr>
          <p:nvPr/>
        </p:nvCxnSpPr>
        <p:spPr>
          <a:xfrm>
            <a:off x="5501488" y="5172976"/>
            <a:ext cx="6048000" cy="0"/>
          </a:xfrm>
          <a:prstGeom prst="line">
            <a:avLst/>
          </a:prstGeom>
          <a:ln w="3175" cap="rnd">
            <a:solidFill>
              <a:schemeClr val="tx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ECBA8B70-AAEB-0A49-DAB9-8E930A6C1912}"/>
              </a:ext>
            </a:extLst>
          </p:cNvPr>
          <p:cNvSpPr txBox="1"/>
          <p:nvPr/>
        </p:nvSpPr>
        <p:spPr>
          <a:xfrm>
            <a:off x="5383696" y="4477950"/>
            <a:ext cx="756000" cy="5842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100" marR="0" lvl="0" indent="0" algn="l" defTabSz="914400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19A3FC">
                    <a:lumMod val="50000"/>
                  </a:srgbClr>
                </a:solidFill>
                <a:effectLst/>
                <a:uLnTx/>
                <a:uFillTx/>
                <a:latin typeface="Walbaum Display" panose="02070503090703020303" pitchFamily="18" charset="0"/>
                <a:ea typeface="+mn-ea"/>
                <a:cs typeface="+mn-cs"/>
              </a:rPr>
              <a:t>04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F57C85F-1F7A-8CDD-6D3D-1C10B77C3AA4}"/>
              </a:ext>
            </a:extLst>
          </p:cNvPr>
          <p:cNvSpPr txBox="1"/>
          <p:nvPr/>
        </p:nvSpPr>
        <p:spPr>
          <a:xfrm>
            <a:off x="6175310" y="5432776"/>
            <a:ext cx="5004000" cy="312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100" marR="0" lvl="0" indent="0" algn="l" defTabSz="914400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Yu Gothic" panose="020B0400000000000000" pitchFamily="34" charset="-128"/>
                <a:cs typeface="Aptos" panose="020B0004020202020204" pitchFamily="34" charset="0"/>
              </a:rPr>
              <a:t>Key Deliverables</a:t>
            </a:r>
            <a:endParaRPr kumimoji="0" lang="en-GB" sz="2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F591756-A4C0-5D2D-50F3-6C51EB6E2B56}"/>
              </a:ext>
            </a:extLst>
          </p:cNvPr>
          <p:cNvSpPr txBox="1"/>
          <p:nvPr/>
        </p:nvSpPr>
        <p:spPr>
          <a:xfrm>
            <a:off x="5383696" y="5283740"/>
            <a:ext cx="756000" cy="5842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100" marR="0" lvl="0" indent="0" algn="l" defTabSz="914400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19A3FC">
                    <a:lumMod val="50000"/>
                  </a:srgbClr>
                </a:solidFill>
                <a:effectLst/>
                <a:uLnTx/>
                <a:uFillTx/>
                <a:latin typeface="Walbaum Display" panose="02070503090703020303" pitchFamily="18" charset="0"/>
                <a:ea typeface="+mn-ea"/>
                <a:cs typeface="+mn-cs"/>
              </a:rPr>
              <a:t>05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44F5162-CFFA-F2B8-A34E-AD74CA553F47}"/>
              </a:ext>
            </a:extLst>
          </p:cNvPr>
          <p:cNvSpPr/>
          <p:nvPr/>
        </p:nvSpPr>
        <p:spPr>
          <a:xfrm>
            <a:off x="4912471" y="0"/>
            <a:ext cx="327621" cy="6858000"/>
          </a:xfrm>
          <a:prstGeom prst="rect">
            <a:avLst/>
          </a:prstGeom>
          <a:solidFill>
            <a:schemeClr val="tx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070F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A647739-877E-0880-42E6-1567A3D45C25}"/>
              </a:ext>
            </a:extLst>
          </p:cNvPr>
          <p:cNvSpPr txBox="1"/>
          <p:nvPr/>
        </p:nvSpPr>
        <p:spPr>
          <a:xfrm>
            <a:off x="6175310" y="4625868"/>
            <a:ext cx="5004000" cy="312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10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Yu Gothic" panose="020B0400000000000000" pitchFamily="34" charset="-128"/>
                <a:cs typeface="Aptos" panose="020B0004020202020204" pitchFamily="34" charset="0"/>
              </a:rPr>
              <a:t>Key Questions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Yu Gothic" panose="020B0400000000000000" pitchFamily="34" charset="-128"/>
              <a:cs typeface="Aptos" panose="020B0004020202020204" pitchFamily="34" charset="0"/>
            </a:endParaRPr>
          </a:p>
        </p:txBody>
      </p:sp>
      <p:pic>
        <p:nvPicPr>
          <p:cNvPr id="19" name="Picture 18" descr="A bridge over water with cranes in the background&#10;&#10;AI-generated content may be incorrect.">
            <a:extLst>
              <a:ext uri="{FF2B5EF4-FFF2-40B4-BE49-F238E27FC236}">
                <a16:creationId xmlns:a16="http://schemas.microsoft.com/office/drawing/2014/main" id="{E1BCBB41-7609-1CBE-63CA-DB008E0FBA8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34" r="41760"/>
          <a:stretch/>
        </p:blipFill>
        <p:spPr>
          <a:xfrm>
            <a:off x="0" y="0"/>
            <a:ext cx="483549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53751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47A95D-8DAF-C547-BD13-3336B48CC5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olution Summary │ Scope &amp; Deliverable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AE6F35-54CB-9391-F6F2-C5E362AB89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E6DAF-806F-404B-BC68-339BFCB57E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5C2793-DDE5-6836-1718-ADF514478FE8}"/>
              </a:ext>
            </a:extLst>
          </p:cNvPr>
          <p:cNvSpPr txBox="1"/>
          <p:nvPr/>
        </p:nvSpPr>
        <p:spPr>
          <a:xfrm>
            <a:off x="371475" y="1022111"/>
            <a:ext cx="5303520" cy="307777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rrent State Assessment Scope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C8CC5EA-D987-493B-7D7B-6947D9AA733E}"/>
              </a:ext>
            </a:extLst>
          </p:cNvPr>
          <p:cNvSpPr txBox="1"/>
          <p:nvPr/>
        </p:nvSpPr>
        <p:spPr>
          <a:xfrm>
            <a:off x="346759" y="1609412"/>
            <a:ext cx="5518874" cy="366254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Times New Roman"/>
              </a:rPr>
              <a:t>A review of the current </a:t>
            </a: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Times New Roman"/>
              </a:rPr>
              <a:t>service management </a:t>
            </a: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Times New Roman"/>
              </a:rPr>
              <a:t>approach used by AIB today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Times New Roman"/>
              </a:rPr>
              <a:t>Use </a:t>
            </a: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Times New Roman"/>
              </a:rPr>
              <a:t>Business Banking (DBB) </a:t>
            </a: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Times New Roman"/>
              </a:rPr>
              <a:t>as a sample case but review the service, technology and processes used End to End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Times New Roman"/>
              </a:rPr>
              <a:t>Assess the </a:t>
            </a: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Times New Roman"/>
              </a:rPr>
              <a:t>observability capabilities</a:t>
            </a: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Times New Roman"/>
              </a:rPr>
              <a:t> from telemetry, monitoring, production scaling and production support aspect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Times New Roman"/>
              </a:rPr>
              <a:t>Review of the </a:t>
            </a: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Times New Roman"/>
              </a:rPr>
              <a:t>platforms capability </a:t>
            </a: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Times New Roman"/>
              </a:rPr>
              <a:t>in correlation of failures to other environment signals, hot spot detection, request tracing, alerting configuration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Times New Roman"/>
              </a:rPr>
              <a:t>Assess the current </a:t>
            </a: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Times New Roman"/>
              </a:rPr>
              <a:t>Ways of Working</a:t>
            </a: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Times New Roman"/>
              </a:rPr>
              <a:t> approach (both people and process) to designing, building and maintaining highly resilient services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IN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01966E1-98E7-4A05-F23E-0718C4385073}"/>
              </a:ext>
            </a:extLst>
          </p:cNvPr>
          <p:cNvSpPr txBox="1"/>
          <p:nvPr/>
        </p:nvSpPr>
        <p:spPr>
          <a:xfrm>
            <a:off x="6517006" y="1022110"/>
            <a:ext cx="5303520" cy="30777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y Deliverables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591EDAC-7DC7-E1A7-CFC3-73F2AF29D125}"/>
              </a:ext>
            </a:extLst>
          </p:cNvPr>
          <p:cNvSpPr/>
          <p:nvPr/>
        </p:nvSpPr>
        <p:spPr>
          <a:xfrm>
            <a:off x="7694785" y="4307548"/>
            <a:ext cx="4242060" cy="105319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Times New Roman" panose="02020603050405020304" pitchFamily="18" charset="0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B38B927-DC71-FDAF-270A-DF9B69A30009}"/>
              </a:ext>
            </a:extLst>
          </p:cNvPr>
          <p:cNvCxnSpPr>
            <a:cxnSpLocks/>
          </p:cNvCxnSpPr>
          <p:nvPr/>
        </p:nvCxnSpPr>
        <p:spPr>
          <a:xfrm>
            <a:off x="6096000" y="1022112"/>
            <a:ext cx="0" cy="5028954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B4FCA9CF-3E9A-4B07-EC5D-1EB8D7871B6C}"/>
              </a:ext>
            </a:extLst>
          </p:cNvPr>
          <p:cNvSpPr txBox="1"/>
          <p:nvPr/>
        </p:nvSpPr>
        <p:spPr>
          <a:xfrm>
            <a:off x="6439727" y="1609412"/>
            <a:ext cx="5458078" cy="585544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rrent state analysis</a:t>
            </a: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with respect to the Selected Customer Journey or Application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en-IN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ommendations </a:t>
            </a: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ound </a:t>
            </a: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ervability </a:t>
            </a: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 direct comparison to meaningful </a:t>
            </a: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Times New Roman"/>
              </a:rPr>
              <a:t>exemplars that have moved the dial elsewher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en-IN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Times New Roman"/>
              </a:rPr>
              <a:t>Recommendations </a:t>
            </a: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Times New Roman"/>
              </a:rPr>
              <a:t>for changes to Ways of Working (people &amp; process) supported with successful exemplars from NTT Data’s experience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en-IN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+mn-ea"/>
              <a:cs typeface="Times New Roman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ward-looking </a:t>
            </a: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admap</a:t>
            </a: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short-term, medium-term and long-term) with recommendations including :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oundational levers </a:t>
            </a: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o implement for laying groundwork for long term strategy for e.g., log maintenance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ueprint </a:t>
            </a: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 Service Assurance Model</a:t>
            </a: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cluding integrity check points and transaction trend analysis.</a:t>
            </a:r>
            <a:endParaRPr kumimoji="0" lang="en-IN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lan to implement </a:t>
            </a: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ear r</a:t>
            </a: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al-time observability </a:t>
            </a: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ability.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/>
              <a:defRPr/>
            </a:pPr>
            <a:endParaRPr kumimoji="0" lang="en-IN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s will aid the creation of a </a:t>
            </a: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rth star for enterprise-wide observability, </a:t>
            </a: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 outlined in the previous proposal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IN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/>
              <a:defRPr/>
            </a:pPr>
            <a:endParaRPr kumimoji="0" lang="en-IN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IN" sz="105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5071942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EEAA79-755F-2726-EB75-0528D2E201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AD957C-F125-01E2-4B58-BDC98B89BB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olution Summary │ Dependencies on AI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1F3BBF-FF49-9CFB-CADC-8A73E5595B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E6DAF-806F-404B-BC68-339BFCB57E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92E3FBB-CF94-40AE-B3BD-6D5C60DF7CFA}"/>
              </a:ext>
            </a:extLst>
          </p:cNvPr>
          <p:cNvSpPr/>
          <p:nvPr/>
        </p:nvSpPr>
        <p:spPr>
          <a:xfrm>
            <a:off x="371476" y="939109"/>
            <a:ext cx="11449050" cy="4860558"/>
          </a:xfrm>
          <a:prstGeom prst="rect">
            <a:avLst/>
          </a:prstGeom>
          <a:noFill/>
          <a:ln>
            <a:solidFill>
              <a:schemeClr val="tx2">
                <a:lumMod val="10000"/>
                <a:lumOff val="9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endParaRPr kumimoji="1" lang="en-US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endParaRPr kumimoji="1" lang="en-US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kumimoji="1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ppoint a </a:t>
            </a:r>
            <a:r>
              <a:rPr kumimoji="1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ngle point of contact </a:t>
            </a:r>
            <a:r>
              <a:rPr kumimoji="1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this engagemen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endParaRPr kumimoji="1" lang="en-US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kumimoji="1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gree on a project start date, along with a kick-off meeting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endParaRPr kumimoji="1" lang="en-US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kumimoji="1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cide on the Approach - </a:t>
            </a:r>
            <a:r>
              <a:rPr kumimoji="1" lang="en-US" sz="1400" b="1" i="0" u="none" strike="noStrike" kern="1200" cap="none" spc="0" normalizeH="0" baseline="0" noProof="0">
                <a:ln>
                  <a:noFill/>
                </a:ln>
                <a:solidFill>
                  <a:srgbClr val="19A3F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stomer Journey Approach </a:t>
            </a:r>
            <a:r>
              <a:rPr kumimoji="1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s </a:t>
            </a:r>
            <a:r>
              <a:rPr kumimoji="1" lang="en-US" sz="1400" b="1" i="0" u="none" strike="noStrike" kern="1200" cap="none" spc="0" normalizeH="0" baseline="0" noProof="0">
                <a:ln>
                  <a:noFill/>
                </a:ln>
                <a:solidFill>
                  <a:srgbClr val="AA3C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main/ Application Approach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endParaRPr kumimoji="1" lang="en-US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kumimoji="1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f </a:t>
            </a:r>
            <a:r>
              <a:rPr kumimoji="1" lang="en-US" sz="1400" b="1" i="0" u="none" strike="noStrike" kern="1200" cap="none" spc="0" normalizeH="0" baseline="0" noProof="0">
                <a:ln>
                  <a:noFill/>
                </a:ln>
                <a:solidFill>
                  <a:srgbClr val="19A3F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stomer Journey Approach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/>
              <a:defRPr/>
            </a:pPr>
            <a:r>
              <a:rPr kumimoji="1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ich is that one customer journey that we want to evaluate?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/>
              <a:defRPr/>
            </a:pPr>
            <a:r>
              <a:rPr kumimoji="1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at are the service chain maps for that customer journey, how are the different applications communicating across the customer journey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/>
              <a:defRPr/>
            </a:pPr>
            <a:r>
              <a:rPr kumimoji="1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derlying application &amp; infrastructure tech-stack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/>
              <a:defRPr/>
            </a:pPr>
            <a:r>
              <a:rPr kumimoji="1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rrent monitoring &amp; observability set-up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/>
              <a:defRPr/>
            </a:pPr>
            <a:r>
              <a:rPr kumimoji="1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siness objectives for that customer journey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/>
              <a:defRPr/>
            </a:pPr>
            <a:r>
              <a:rPr kumimoji="1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at are all value streams which this customer journey is cutting across?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/>
              <a:defRPr/>
            </a:pPr>
            <a:r>
              <a:rPr kumimoji="1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cess to &amp; availability of stakeholders involved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lphaLcParenR"/>
              <a:tabLst/>
              <a:defRPr/>
            </a:pPr>
            <a:endParaRPr kumimoji="1" lang="en-US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kumimoji="1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f </a:t>
            </a:r>
            <a:r>
              <a:rPr kumimoji="1" lang="en-US" sz="1400" b="1" i="0" u="none" strike="noStrike" kern="1200" cap="none" spc="0" normalizeH="0" baseline="0" noProof="0">
                <a:ln>
                  <a:noFill/>
                </a:ln>
                <a:solidFill>
                  <a:srgbClr val="AA3C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main/Application Approach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/>
              <a:defRPr/>
            </a:pPr>
            <a:r>
              <a:rPr kumimoji="1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ich two domains/applications (example – Sanctions Application, Core Banking etc.) can be considered for evaluation?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/>
              <a:defRPr/>
            </a:pPr>
            <a:r>
              <a:rPr kumimoji="1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derlying application &amp; infrastructure tech-stack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/>
              <a:defRPr/>
            </a:pPr>
            <a:r>
              <a:rPr kumimoji="1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rrent monitoring &amp; observability set-up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/>
              <a:defRPr/>
            </a:pPr>
            <a:r>
              <a:rPr kumimoji="1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siness objectives for those applications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/>
              <a:defRPr/>
            </a:pPr>
            <a:r>
              <a:rPr kumimoji="1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cess to &amp; availability of stakeholders involved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lphaLcParenR"/>
              <a:tabLst/>
              <a:defRPr/>
            </a:pPr>
            <a:endParaRPr kumimoji="1" lang="en-US" sz="12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endParaRPr kumimoji="1" lang="en-US" sz="12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74733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040FA53-9C70-79A4-7CA0-9DCCF757BE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70BA3D2-3065-7566-B016-6BD39833F9AA}"/>
              </a:ext>
            </a:extLst>
          </p:cNvPr>
          <p:cNvSpPr/>
          <p:nvPr/>
        </p:nvSpPr>
        <p:spPr>
          <a:xfrm>
            <a:off x="0" y="0"/>
            <a:ext cx="4852035" cy="6857999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0"/>
                </a:schemeClr>
              </a:gs>
              <a:gs pos="50000">
                <a:schemeClr val="accent3">
                  <a:lumMod val="75000"/>
                </a:schemeClr>
              </a:gs>
              <a:gs pos="100000">
                <a:schemeClr val="accent2">
                  <a:lumMod val="7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0FE2BA-FFCF-4E7B-9B23-4271F8B990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167" y="2306206"/>
            <a:ext cx="3929171" cy="581559"/>
          </a:xfrm>
        </p:spPr>
        <p:txBody>
          <a:bodyPr/>
          <a:lstStyle/>
          <a:p>
            <a:r>
              <a:rPr lang="en-US" sz="4800">
                <a:solidFill>
                  <a:schemeClr val="bg1"/>
                </a:solidFill>
              </a:rPr>
              <a:t>High Level Engagement Plan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A782BE4F-66B6-C315-2EB8-D6DB03AA5660}"/>
              </a:ext>
            </a:extLst>
          </p:cNvPr>
          <p:cNvSpPr txBox="1">
            <a:spLocks/>
          </p:cNvSpPr>
          <p:nvPr/>
        </p:nvSpPr>
        <p:spPr bwMode="gray">
          <a:xfrm>
            <a:off x="5943600" y="6563358"/>
            <a:ext cx="304800" cy="88901"/>
          </a:xfrm>
          <a:prstGeom prst="rect">
            <a:avLst/>
          </a:prstGeom>
          <a:ln w="3175"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lnSpc>
                <a:spcPct val="100000"/>
              </a:lnSpc>
              <a:defRPr lang="en-US"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E6DAF-806F-404B-BC68-339BFCB57E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70F2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70F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A7500D98-7375-6B92-19D3-9E18F8A2E5AB}"/>
              </a:ext>
            </a:extLst>
          </p:cNvPr>
          <p:cNvSpPr txBox="1">
            <a:spLocks/>
          </p:cNvSpPr>
          <p:nvPr/>
        </p:nvSpPr>
        <p:spPr>
          <a:xfrm>
            <a:off x="240847" y="6524626"/>
            <a:ext cx="4852035" cy="17489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5 NTT DATA Inc.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8443D0E-7BDF-E7FF-4722-D3DB794F32DE}"/>
              </a:ext>
            </a:extLst>
          </p:cNvPr>
          <p:cNvSpPr txBox="1">
            <a:spLocks/>
          </p:cNvSpPr>
          <p:nvPr/>
        </p:nvSpPr>
        <p:spPr bwMode="gray">
          <a:xfrm>
            <a:off x="430167" y="480949"/>
            <a:ext cx="1664447" cy="119146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800" b="0" i="0" u="none" strike="noStrike" kern="1200" cap="none" spc="0" normalizeH="0" baseline="0" noProof="0">
                <a:ln>
                  <a:noFill/>
                </a:ln>
                <a:solidFill>
                  <a:srgbClr val="19A3FC"/>
                </a:solidFill>
                <a:effectLst/>
                <a:uLnTx/>
                <a:uFillTx/>
                <a:latin typeface="Georgia" panose="02040502050405020303" pitchFamily="18" charset="0"/>
                <a:ea typeface="+mj-ea"/>
                <a:cs typeface="+mj-cs"/>
              </a:rPr>
              <a:t>01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F0C6AF3-E5C1-D07B-67FC-0583AECF0A67}"/>
              </a:ext>
            </a:extLst>
          </p:cNvPr>
          <p:cNvCxnSpPr/>
          <p:nvPr/>
        </p:nvCxnSpPr>
        <p:spPr>
          <a:xfrm>
            <a:off x="355739" y="4803941"/>
            <a:ext cx="408867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Graphic 28" descr="Daily calendar outline">
            <a:extLst>
              <a:ext uri="{FF2B5EF4-FFF2-40B4-BE49-F238E27FC236}">
                <a16:creationId xmlns:a16="http://schemas.microsoft.com/office/drawing/2014/main" id="{2C824277-6322-D0C1-EAD1-8961A0DB1AE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92049" y="631790"/>
            <a:ext cx="1106424" cy="1106424"/>
          </a:xfrm>
          <a:prstGeom prst="rect">
            <a:avLst/>
          </a:prstGeom>
        </p:spPr>
      </p:pic>
      <p:sp>
        <p:nvSpPr>
          <p:cNvPr id="66" name="Rectangle 1">
            <a:extLst>
              <a:ext uri="{FF2B5EF4-FFF2-40B4-BE49-F238E27FC236}">
                <a16:creationId xmlns:a16="http://schemas.microsoft.com/office/drawing/2014/main" id="{B54D99D9-1846-8A7A-6E1F-168A2B4C26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040631" y="976377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32E93990-99CD-1DBA-815B-8AF6808E59E7}"/>
              </a:ext>
            </a:extLst>
          </p:cNvPr>
          <p:cNvSpPr txBox="1"/>
          <p:nvPr/>
        </p:nvSpPr>
        <p:spPr>
          <a:xfrm>
            <a:off x="5562447" y="1080473"/>
            <a:ext cx="2773481" cy="32447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5B96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2CDC3919-FCD5-7346-E436-A70BDCC83166}"/>
              </a:ext>
            </a:extLst>
          </p:cNvPr>
          <p:cNvSpPr txBox="1"/>
          <p:nvPr/>
        </p:nvSpPr>
        <p:spPr>
          <a:xfrm>
            <a:off x="6291058" y="1454698"/>
            <a:ext cx="2011680" cy="64008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keholder alignment &amp; Initial discovery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0693D86B-02A5-11C7-9FB9-80C4E3324490}"/>
              </a:ext>
            </a:extLst>
          </p:cNvPr>
          <p:cNvSpPr txBox="1"/>
          <p:nvPr/>
        </p:nvSpPr>
        <p:spPr>
          <a:xfrm>
            <a:off x="6291058" y="2266830"/>
            <a:ext cx="2011680" cy="64008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ervability Deep dive - Telemetry, Monitoring &amp; Alerting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5D6ADE1D-BF97-CD04-DC91-B550B52C755A}"/>
              </a:ext>
            </a:extLst>
          </p:cNvPr>
          <p:cNvSpPr txBox="1"/>
          <p:nvPr/>
        </p:nvSpPr>
        <p:spPr>
          <a:xfrm>
            <a:off x="6291058" y="3084909"/>
            <a:ext cx="2011680" cy="64008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tform &amp; Failure Correlation Capabilities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11EFA74B-C6E1-E3D6-FC60-4AE4A24392D9}"/>
              </a:ext>
            </a:extLst>
          </p:cNvPr>
          <p:cNvSpPr txBox="1"/>
          <p:nvPr/>
        </p:nvSpPr>
        <p:spPr>
          <a:xfrm>
            <a:off x="6291058" y="3895795"/>
            <a:ext cx="2011680" cy="64008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ys of Working &amp; Service Reliability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BDE95276-EEF2-AFC4-8366-FB209C4F0D89}"/>
              </a:ext>
            </a:extLst>
          </p:cNvPr>
          <p:cNvSpPr txBox="1"/>
          <p:nvPr/>
        </p:nvSpPr>
        <p:spPr>
          <a:xfrm>
            <a:off x="6291058" y="4729692"/>
            <a:ext cx="2011680" cy="64008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alysis, Recommendations &amp; Roadmap Development</a:t>
            </a:r>
          </a:p>
        </p:txBody>
      </p: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DC72E170-B0A6-AEEB-CF68-599C46683C48}"/>
              </a:ext>
            </a:extLst>
          </p:cNvPr>
          <p:cNvCxnSpPr>
            <a:cxnSpLocks/>
          </p:cNvCxnSpPr>
          <p:nvPr/>
        </p:nvCxnSpPr>
        <p:spPr>
          <a:xfrm>
            <a:off x="4978535" y="2092916"/>
            <a:ext cx="6858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1C3AC3E2-50C2-A94B-9336-8A84732CDCF4}"/>
              </a:ext>
            </a:extLst>
          </p:cNvPr>
          <p:cNvCxnSpPr>
            <a:cxnSpLocks/>
          </p:cNvCxnSpPr>
          <p:nvPr/>
        </p:nvCxnSpPr>
        <p:spPr>
          <a:xfrm>
            <a:off x="4978535" y="2910262"/>
            <a:ext cx="6858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EB2BDB66-6C08-310E-E20E-9BF23A6D3D49}"/>
              </a:ext>
            </a:extLst>
          </p:cNvPr>
          <p:cNvCxnSpPr>
            <a:cxnSpLocks/>
          </p:cNvCxnSpPr>
          <p:nvPr/>
        </p:nvCxnSpPr>
        <p:spPr>
          <a:xfrm>
            <a:off x="4978535" y="3727608"/>
            <a:ext cx="6858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7E8282DB-43FE-AFDC-9F07-4E752A582E9B}"/>
              </a:ext>
            </a:extLst>
          </p:cNvPr>
          <p:cNvCxnSpPr>
            <a:cxnSpLocks/>
          </p:cNvCxnSpPr>
          <p:nvPr/>
        </p:nvCxnSpPr>
        <p:spPr>
          <a:xfrm>
            <a:off x="4978535" y="4544954"/>
            <a:ext cx="6858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Box 94">
            <a:extLst>
              <a:ext uri="{FF2B5EF4-FFF2-40B4-BE49-F238E27FC236}">
                <a16:creationId xmlns:a16="http://schemas.microsoft.com/office/drawing/2014/main" id="{1C20AD33-28E9-42A0-06EB-11F9EEC58F39}"/>
              </a:ext>
            </a:extLst>
          </p:cNvPr>
          <p:cNvSpPr txBox="1"/>
          <p:nvPr/>
        </p:nvSpPr>
        <p:spPr>
          <a:xfrm>
            <a:off x="5574451" y="1626472"/>
            <a:ext cx="785662" cy="29787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9A3F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ek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9A3F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369A274D-ABFE-0D97-8584-B25FDE65D87B}"/>
              </a:ext>
            </a:extLst>
          </p:cNvPr>
          <p:cNvCxnSpPr>
            <a:cxnSpLocks/>
          </p:cNvCxnSpPr>
          <p:nvPr/>
        </p:nvCxnSpPr>
        <p:spPr>
          <a:xfrm>
            <a:off x="4978535" y="1410558"/>
            <a:ext cx="6858000" cy="0"/>
          </a:xfrm>
          <a:prstGeom prst="line">
            <a:avLst/>
          </a:prstGeom>
          <a:ln w="190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TextBox 108">
            <a:extLst>
              <a:ext uri="{FF2B5EF4-FFF2-40B4-BE49-F238E27FC236}">
                <a16:creationId xmlns:a16="http://schemas.microsoft.com/office/drawing/2014/main" id="{870069DC-F835-E454-7F40-D46BFF574D35}"/>
              </a:ext>
            </a:extLst>
          </p:cNvPr>
          <p:cNvSpPr txBox="1"/>
          <p:nvPr/>
        </p:nvSpPr>
        <p:spPr>
          <a:xfrm>
            <a:off x="8622225" y="1080473"/>
            <a:ext cx="2772000" cy="3377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5B96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tails</a:t>
            </a:r>
          </a:p>
        </p:txBody>
      </p: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A40D5380-CC75-F44D-EAB2-6C55FC798888}"/>
              </a:ext>
            </a:extLst>
          </p:cNvPr>
          <p:cNvCxnSpPr>
            <a:cxnSpLocks/>
          </p:cNvCxnSpPr>
          <p:nvPr/>
        </p:nvCxnSpPr>
        <p:spPr>
          <a:xfrm>
            <a:off x="8385970" y="1116021"/>
            <a:ext cx="0" cy="42976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TextBox 112">
            <a:extLst>
              <a:ext uri="{FF2B5EF4-FFF2-40B4-BE49-F238E27FC236}">
                <a16:creationId xmlns:a16="http://schemas.microsoft.com/office/drawing/2014/main" id="{A3C889CC-F5EB-395F-A9F3-09FAFF1A8A0C}"/>
              </a:ext>
            </a:extLst>
          </p:cNvPr>
          <p:cNvSpPr txBox="1"/>
          <p:nvPr/>
        </p:nvSpPr>
        <p:spPr>
          <a:xfrm>
            <a:off x="8529568" y="1458501"/>
            <a:ext cx="3291840" cy="64008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ickoff &amp; Stakeholder discussion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derstanding current service management approach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64D36884-FCD7-E49B-B47E-2CC946BE2DDA}"/>
              </a:ext>
            </a:extLst>
          </p:cNvPr>
          <p:cNvSpPr txBox="1"/>
          <p:nvPr/>
        </p:nvSpPr>
        <p:spPr>
          <a:xfrm>
            <a:off x="8529568" y="2159667"/>
            <a:ext cx="3291840" cy="64008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pplication Telemetry &amp; logging review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nitoring &amp; Production Scaling Assess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erting Mechanisms &amp; Configurations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4F284910-F8C9-1CEC-7DA8-5A1DC3705D8B}"/>
              </a:ext>
            </a:extLst>
          </p:cNvPr>
          <p:cNvSpPr txBox="1"/>
          <p:nvPr/>
        </p:nvSpPr>
        <p:spPr>
          <a:xfrm>
            <a:off x="8526850" y="3013919"/>
            <a:ext cx="3291840" cy="64008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ilure Correlation &amp; Root cause analysi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quest tracing &amp; Performance bottleneck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cident postmortem review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3546F528-BB29-F42F-2BF6-22515983EF68}"/>
              </a:ext>
            </a:extLst>
          </p:cNvPr>
          <p:cNvSpPr txBox="1"/>
          <p:nvPr/>
        </p:nvSpPr>
        <p:spPr>
          <a:xfrm>
            <a:off x="8529568" y="3833791"/>
            <a:ext cx="3291840" cy="64008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ervability in SDLC &amp; Deployment pipelin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duction Support &amp; Incident Response review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ap identification &amp; initial findings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6625871A-6720-C88C-7B46-5EA719A729C1}"/>
              </a:ext>
            </a:extLst>
          </p:cNvPr>
          <p:cNvSpPr txBox="1"/>
          <p:nvPr/>
        </p:nvSpPr>
        <p:spPr>
          <a:xfrm>
            <a:off x="8529568" y="4735356"/>
            <a:ext cx="4001097" cy="64008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rrent State Analysis – A living document,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000">
                <a:solidFill>
                  <a:srgbClr val="000000"/>
                </a:solidFill>
                <a:latin typeface="Arial"/>
              </a:rPr>
              <a:t>                                             (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pdated every week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ommendations &amp; Future Roadmap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al Presentation &amp; Stakeholder Review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C90EFCEC-659E-24FE-99F1-80061C74BEAC}"/>
              </a:ext>
            </a:extLst>
          </p:cNvPr>
          <p:cNvSpPr txBox="1"/>
          <p:nvPr/>
        </p:nvSpPr>
        <p:spPr>
          <a:xfrm>
            <a:off x="5574451" y="2446181"/>
            <a:ext cx="785662" cy="29787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9A3F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ek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9A3F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2A75C166-7876-6FF8-B625-DD67075EEB6F}"/>
              </a:ext>
            </a:extLst>
          </p:cNvPr>
          <p:cNvSpPr txBox="1"/>
          <p:nvPr/>
        </p:nvSpPr>
        <p:spPr>
          <a:xfrm>
            <a:off x="5574451" y="3265890"/>
            <a:ext cx="785662" cy="29787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9A3F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ek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9A3F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A320A7B4-BBE4-1226-EE4C-976EA8F861EF}"/>
              </a:ext>
            </a:extLst>
          </p:cNvPr>
          <p:cNvSpPr txBox="1"/>
          <p:nvPr/>
        </p:nvSpPr>
        <p:spPr>
          <a:xfrm>
            <a:off x="5574451" y="4051731"/>
            <a:ext cx="785662" cy="29787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9A3F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ek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9A3F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E25A3956-185B-52F0-9A6E-E0DAF9A20D2E}"/>
              </a:ext>
            </a:extLst>
          </p:cNvPr>
          <p:cNvSpPr txBox="1"/>
          <p:nvPr/>
        </p:nvSpPr>
        <p:spPr>
          <a:xfrm>
            <a:off x="5568616" y="4875376"/>
            <a:ext cx="785662" cy="29787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9A3F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ek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9A3F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-6</a:t>
            </a:r>
          </a:p>
        </p:txBody>
      </p:sp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892B926A-724D-132E-9C46-8A711D943965}"/>
              </a:ext>
            </a:extLst>
          </p:cNvPr>
          <p:cNvCxnSpPr>
            <a:cxnSpLocks/>
          </p:cNvCxnSpPr>
          <p:nvPr/>
        </p:nvCxnSpPr>
        <p:spPr>
          <a:xfrm>
            <a:off x="5413228" y="1105261"/>
            <a:ext cx="0" cy="42976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7" name="Graphic 156" descr="Lightbulb and gear with solid fill">
            <a:extLst>
              <a:ext uri="{FF2B5EF4-FFF2-40B4-BE49-F238E27FC236}">
                <a16:creationId xmlns:a16="http://schemas.microsoft.com/office/drawing/2014/main" id="{08974B44-3F0B-A34F-8246-F61941EA81C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97734" y="4855082"/>
            <a:ext cx="338467" cy="338467"/>
          </a:xfrm>
          <a:prstGeom prst="rect">
            <a:avLst/>
          </a:prstGeom>
        </p:spPr>
      </p:pic>
      <p:pic>
        <p:nvPicPr>
          <p:cNvPr id="160" name="Graphic 159" descr="Server with solid fill">
            <a:extLst>
              <a:ext uri="{FF2B5EF4-FFF2-40B4-BE49-F238E27FC236}">
                <a16:creationId xmlns:a16="http://schemas.microsoft.com/office/drawing/2014/main" id="{65A7C38B-2D25-3E06-A4DA-263695066FF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027105" y="4057465"/>
            <a:ext cx="279724" cy="279724"/>
          </a:xfrm>
          <a:prstGeom prst="rect">
            <a:avLst/>
          </a:prstGeom>
        </p:spPr>
      </p:pic>
      <p:pic>
        <p:nvPicPr>
          <p:cNvPr id="163" name="Graphic 162" descr="Research with solid fill">
            <a:extLst>
              <a:ext uri="{FF2B5EF4-FFF2-40B4-BE49-F238E27FC236}">
                <a16:creationId xmlns:a16="http://schemas.microsoft.com/office/drawing/2014/main" id="{6EE07464-6DCF-986F-6CCC-08E6392D055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013119" y="2425543"/>
            <a:ext cx="307696" cy="307696"/>
          </a:xfrm>
          <a:prstGeom prst="rect">
            <a:avLst/>
          </a:prstGeom>
        </p:spPr>
      </p:pic>
      <p:pic>
        <p:nvPicPr>
          <p:cNvPr id="166" name="Graphic 165" descr="Checklist with solid fill">
            <a:extLst>
              <a:ext uri="{FF2B5EF4-FFF2-40B4-BE49-F238E27FC236}">
                <a16:creationId xmlns:a16="http://schemas.microsoft.com/office/drawing/2014/main" id="{D4424783-3CE8-1648-225C-BCF890E2F0D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013119" y="1633821"/>
            <a:ext cx="307696" cy="307696"/>
          </a:xfrm>
          <a:prstGeom prst="rect">
            <a:avLst/>
          </a:prstGeom>
        </p:spPr>
      </p:pic>
      <p:pic>
        <p:nvPicPr>
          <p:cNvPr id="168" name="Graphic 167" descr="Badge Tick1 with solid fill">
            <a:extLst>
              <a:ext uri="{FF2B5EF4-FFF2-40B4-BE49-F238E27FC236}">
                <a16:creationId xmlns:a16="http://schemas.microsoft.com/office/drawing/2014/main" id="{440CD530-7EB9-D9A5-EAEC-8455A580E8DF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027105" y="3251133"/>
            <a:ext cx="288438" cy="288438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2A6342E-1856-FBEC-4C02-EBF2D4F0107C}"/>
              </a:ext>
            </a:extLst>
          </p:cNvPr>
          <p:cNvSpPr/>
          <p:nvPr/>
        </p:nvSpPr>
        <p:spPr>
          <a:xfrm>
            <a:off x="4940035" y="5538795"/>
            <a:ext cx="6906570" cy="45449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r>
              <a:rPr lang="en-US" sz="1400">
                <a:solidFill>
                  <a:schemeClr val="accent1">
                    <a:lumMod val="75000"/>
                    <a:lumOff val="25000"/>
                  </a:schemeClr>
                </a:solidFill>
              </a:rPr>
              <a:t>Focus will be on Business Banking (DBB) as a sample value stream</a:t>
            </a:r>
          </a:p>
        </p:txBody>
      </p: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623C3025-AA05-A292-1BFA-99CF77954A04}"/>
              </a:ext>
            </a:extLst>
          </p:cNvPr>
          <p:cNvSpPr/>
          <p:nvPr/>
        </p:nvSpPr>
        <p:spPr>
          <a:xfrm>
            <a:off x="8269746" y="2794733"/>
            <a:ext cx="232447" cy="165268"/>
          </a:xfrm>
          <a:prstGeom prst="triangl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en-US" sz="2000" err="1"/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829F6D18-DC2C-D9BC-9F1B-BD97C1AF5E34}"/>
              </a:ext>
            </a:extLst>
          </p:cNvPr>
          <p:cNvSpPr/>
          <p:nvPr/>
        </p:nvSpPr>
        <p:spPr>
          <a:xfrm>
            <a:off x="8269745" y="4441412"/>
            <a:ext cx="232447" cy="165268"/>
          </a:xfrm>
          <a:prstGeom prst="triangl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en-US" sz="2000" err="1"/>
          </a:p>
        </p:txBody>
      </p:sp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0FB6F464-8ACC-0B1B-F7FD-5019A75E6172}"/>
              </a:ext>
            </a:extLst>
          </p:cNvPr>
          <p:cNvSpPr/>
          <p:nvPr/>
        </p:nvSpPr>
        <p:spPr>
          <a:xfrm>
            <a:off x="9311183" y="6041059"/>
            <a:ext cx="232447" cy="165268"/>
          </a:xfrm>
          <a:prstGeom prst="triangl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en-US" sz="2000" err="1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69128F3-7FC0-1941-47C5-0C0263124BF3}"/>
              </a:ext>
            </a:extLst>
          </p:cNvPr>
          <p:cNvSpPr txBox="1"/>
          <p:nvPr/>
        </p:nvSpPr>
        <p:spPr>
          <a:xfrm>
            <a:off x="9615835" y="6042124"/>
            <a:ext cx="3066403" cy="20840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/>
            <a:r>
              <a:rPr lang="en-US" sz="1100" i="1"/>
              <a:t>Check-point call with AIB leadership</a:t>
            </a:r>
          </a:p>
        </p:txBody>
      </p:sp>
    </p:spTree>
    <p:extLst>
      <p:ext uri="{BB962C8B-B14F-4D97-AF65-F5344CB8AC3E}">
        <p14:creationId xmlns:p14="http://schemas.microsoft.com/office/powerpoint/2010/main" val="23120103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691E38D-7C33-70C0-F23D-9BD011680F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BE06CFA0-1A6D-A21D-68F9-BD977C718E8F}"/>
              </a:ext>
            </a:extLst>
          </p:cNvPr>
          <p:cNvSpPr/>
          <p:nvPr/>
        </p:nvSpPr>
        <p:spPr>
          <a:xfrm>
            <a:off x="0" y="0"/>
            <a:ext cx="4852035" cy="6857999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0"/>
                </a:schemeClr>
              </a:gs>
              <a:gs pos="50000">
                <a:schemeClr val="accent3">
                  <a:lumMod val="75000"/>
                </a:schemeClr>
              </a:gs>
              <a:gs pos="100000">
                <a:schemeClr val="accent2">
                  <a:lumMod val="7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39C9DA0E-FFB8-DEAB-96C9-3A2ED7724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166" y="2306206"/>
            <a:ext cx="4281533" cy="581559"/>
          </a:xfrm>
        </p:spPr>
        <p:txBody>
          <a:bodyPr/>
          <a:lstStyle/>
          <a:p>
            <a:r>
              <a:rPr lang="en-US" sz="4800">
                <a:solidFill>
                  <a:schemeClr val="bg1"/>
                </a:solidFill>
              </a:rPr>
              <a:t>Pre-Requisites for the Assessment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1715A46F-1B8D-69E7-2C42-DA0127F24A18}"/>
              </a:ext>
            </a:extLst>
          </p:cNvPr>
          <p:cNvSpPr txBox="1">
            <a:spLocks/>
          </p:cNvSpPr>
          <p:nvPr/>
        </p:nvSpPr>
        <p:spPr bwMode="gray">
          <a:xfrm>
            <a:off x="430167" y="480949"/>
            <a:ext cx="1664447" cy="119146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800" b="0" i="0" u="none" strike="noStrike" kern="1200" cap="none" spc="0" normalizeH="0" baseline="0" noProof="0">
                <a:ln>
                  <a:noFill/>
                </a:ln>
                <a:solidFill>
                  <a:srgbClr val="19A3FC"/>
                </a:solidFill>
                <a:effectLst/>
                <a:uLnTx/>
                <a:uFillTx/>
                <a:latin typeface="Georgia" panose="02040502050405020303" pitchFamily="18" charset="0"/>
                <a:ea typeface="+mj-ea"/>
                <a:cs typeface="+mj-cs"/>
              </a:rPr>
              <a:t>02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BACE87F5-02FA-C1A6-9425-D786ED5FE974}"/>
              </a:ext>
            </a:extLst>
          </p:cNvPr>
          <p:cNvCxnSpPr/>
          <p:nvPr/>
        </p:nvCxnSpPr>
        <p:spPr>
          <a:xfrm>
            <a:off x="355739" y="4803941"/>
            <a:ext cx="408867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15D11C95-8000-E142-5E8C-AD03D9BA4DF9}"/>
              </a:ext>
            </a:extLst>
          </p:cNvPr>
          <p:cNvSpPr txBox="1">
            <a:spLocks/>
          </p:cNvSpPr>
          <p:nvPr/>
        </p:nvSpPr>
        <p:spPr bwMode="gray">
          <a:xfrm>
            <a:off x="5943600" y="6563358"/>
            <a:ext cx="304800" cy="88901"/>
          </a:xfrm>
          <a:prstGeom prst="rect">
            <a:avLst/>
          </a:prstGeom>
          <a:ln w="3175"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lnSpc>
                <a:spcPct val="100000"/>
              </a:lnSpc>
              <a:defRPr lang="en-US"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E6DAF-806F-404B-BC68-339BFCB57E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70F2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70F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2B046F08-96B7-BB48-7E2B-F5F792CB7D3F}"/>
              </a:ext>
            </a:extLst>
          </p:cNvPr>
          <p:cNvSpPr txBox="1">
            <a:spLocks/>
          </p:cNvSpPr>
          <p:nvPr/>
        </p:nvSpPr>
        <p:spPr>
          <a:xfrm>
            <a:off x="240847" y="6524626"/>
            <a:ext cx="4852035" cy="17489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5 NTT DATA Inc.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A6EA75-C803-174E-9BC8-1139EA6C2DD3}"/>
              </a:ext>
            </a:extLst>
          </p:cNvPr>
          <p:cNvSpPr/>
          <p:nvPr/>
        </p:nvSpPr>
        <p:spPr>
          <a:xfrm>
            <a:off x="5541839" y="1143640"/>
            <a:ext cx="5904000" cy="36576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isting application documentation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o understand flow and high-level functionalit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867B04D-2956-AE4F-BF50-85EDCA809E83}"/>
              </a:ext>
            </a:extLst>
          </p:cNvPr>
          <p:cNvSpPr/>
          <p:nvPr/>
        </p:nvSpPr>
        <p:spPr>
          <a:xfrm>
            <a:off x="5541839" y="2370136"/>
            <a:ext cx="5904000" cy="36576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st of 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rrent observability architecture, tools 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isting dashboard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D273821-E2E7-F9C4-D58A-4A2B18283845}"/>
              </a:ext>
            </a:extLst>
          </p:cNvPr>
          <p:cNvSpPr/>
          <p:nvPr/>
        </p:nvSpPr>
        <p:spPr>
          <a:xfrm>
            <a:off x="5541839" y="3623870"/>
            <a:ext cx="5904000" cy="36576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ad only access 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all tools being used for application monitoring &amp; logging in production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548565B-BFCD-C216-A408-CF36BFA85FFB}"/>
              </a:ext>
            </a:extLst>
          </p:cNvPr>
          <p:cNvSpPr/>
          <p:nvPr/>
        </p:nvSpPr>
        <p:spPr>
          <a:xfrm>
            <a:off x="5541839" y="4823112"/>
            <a:ext cx="5904000" cy="36576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1EB831C-6B5C-DB9A-BE47-D4146AABC07E}"/>
              </a:ext>
            </a:extLst>
          </p:cNvPr>
          <p:cNvSpPr/>
          <p:nvPr/>
        </p:nvSpPr>
        <p:spPr>
          <a:xfrm>
            <a:off x="5541839" y="4865881"/>
            <a:ext cx="5904000" cy="36576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isting SLI, SLO &amp; error budget documentation </a:t>
            </a:r>
            <a:r>
              <a:rPr kumimoji="0" lang="en-IN" sz="14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if available)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BE4E457-7846-5728-37C5-65DBA66E2326}"/>
              </a:ext>
            </a:extLst>
          </p:cNvPr>
          <p:cNvSpPr/>
          <p:nvPr/>
        </p:nvSpPr>
        <p:spPr>
          <a:xfrm>
            <a:off x="5541839" y="5452538"/>
            <a:ext cx="5904000" cy="36576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>
                <a:solidFill>
                  <a:srgbClr val="000000"/>
                </a:solidFill>
                <a:latin typeface="Arial"/>
              </a:rPr>
              <a:t>Infrastructure documentation </a:t>
            </a:r>
            <a:r>
              <a:rPr kumimoji="0" lang="en-US" sz="14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 applicat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A017A4E-1FED-8D64-016A-7626ACFA0DE9}"/>
              </a:ext>
            </a:extLst>
          </p:cNvPr>
          <p:cNvSpPr/>
          <p:nvPr/>
        </p:nvSpPr>
        <p:spPr>
          <a:xfrm>
            <a:off x="5541839" y="1803474"/>
            <a:ext cx="5904000" cy="36576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st of 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rrent monitoring &amp; service management tools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with required access </a:t>
            </a: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A1F5A60-A26D-07C1-8BB9-4820461A8B5B}"/>
              </a:ext>
            </a:extLst>
          </p:cNvPr>
          <p:cNvSpPr/>
          <p:nvPr/>
        </p:nvSpPr>
        <p:spPr>
          <a:xfrm>
            <a:off x="5541839" y="2983380"/>
            <a:ext cx="5904000" cy="36576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quired access to all tools 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ing used for application monitoring &amp; logging in lower environment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E37B5D4-50FB-518D-2DC1-A4992637032A}"/>
              </a:ext>
            </a:extLst>
          </p:cNvPr>
          <p:cNvSpPr/>
          <p:nvPr/>
        </p:nvSpPr>
        <p:spPr>
          <a:xfrm>
            <a:off x="5541839" y="4373412"/>
            <a:ext cx="5904000" cy="36576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108000" tIns="72000" rIns="108000" bIns="72000" rtlCol="0" anchor="ctr"/>
          <a:lstStyle/>
          <a:p>
            <a:pPr fontAlgn="ctr"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vide a list of high-priority incidents </a:t>
            </a:r>
            <a:r>
              <a:rPr kumimoji="0" lang="en-US" sz="14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ong with </a:t>
            </a:r>
            <a:r>
              <a:rPr kumimoji="0" lang="en-IN" sz="14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cident History Dump and Incident classification documentation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2" name="Graphic 41" descr="Clipboard Checked outline">
            <a:extLst>
              <a:ext uri="{FF2B5EF4-FFF2-40B4-BE49-F238E27FC236}">
                <a16:creationId xmlns:a16="http://schemas.microsoft.com/office/drawing/2014/main" id="{6675141B-3534-9182-32D6-43739D499B2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91415" y="588124"/>
            <a:ext cx="1106424" cy="1106424"/>
          </a:xfrm>
          <a:prstGeom prst="rect">
            <a:avLst/>
          </a:prstGeom>
        </p:spPr>
      </p:pic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1BCBF76F-CC8A-8936-3FBB-908182C18C75}"/>
              </a:ext>
            </a:extLst>
          </p:cNvPr>
          <p:cNvCxnSpPr/>
          <p:nvPr/>
        </p:nvCxnSpPr>
        <p:spPr>
          <a:xfrm>
            <a:off x="5396627" y="0"/>
            <a:ext cx="0" cy="6857999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Oval 44">
            <a:extLst>
              <a:ext uri="{FF2B5EF4-FFF2-40B4-BE49-F238E27FC236}">
                <a16:creationId xmlns:a16="http://schemas.microsoft.com/office/drawing/2014/main" id="{71400974-AE06-0627-86CD-D431C7D7F0AB}"/>
              </a:ext>
            </a:extLst>
          </p:cNvPr>
          <p:cNvSpPr/>
          <p:nvPr/>
        </p:nvSpPr>
        <p:spPr>
          <a:xfrm>
            <a:off x="5297211" y="549018"/>
            <a:ext cx="199000" cy="199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299A9B93-BA35-D2E4-362C-9B0D0F139B44}"/>
              </a:ext>
            </a:extLst>
          </p:cNvPr>
          <p:cNvSpPr/>
          <p:nvPr/>
        </p:nvSpPr>
        <p:spPr>
          <a:xfrm>
            <a:off x="5287029" y="1144509"/>
            <a:ext cx="199000" cy="199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38365B65-B0B7-B848-6668-FF8FC8E0BC55}"/>
              </a:ext>
            </a:extLst>
          </p:cNvPr>
          <p:cNvSpPr/>
          <p:nvPr/>
        </p:nvSpPr>
        <p:spPr>
          <a:xfrm>
            <a:off x="5297211" y="1787354"/>
            <a:ext cx="199000" cy="199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8C803A27-BC22-6547-FA37-95767529DC5B}"/>
              </a:ext>
            </a:extLst>
          </p:cNvPr>
          <p:cNvSpPr/>
          <p:nvPr/>
        </p:nvSpPr>
        <p:spPr>
          <a:xfrm>
            <a:off x="5297211" y="2455026"/>
            <a:ext cx="199000" cy="199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FBF40B56-08D1-3A38-E86D-925C94DBD56D}"/>
              </a:ext>
            </a:extLst>
          </p:cNvPr>
          <p:cNvSpPr/>
          <p:nvPr/>
        </p:nvSpPr>
        <p:spPr>
          <a:xfrm>
            <a:off x="5297211" y="3045348"/>
            <a:ext cx="199000" cy="199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57EA2B74-D1E1-4532-6BF8-0D0F672A439F}"/>
              </a:ext>
            </a:extLst>
          </p:cNvPr>
          <p:cNvSpPr/>
          <p:nvPr/>
        </p:nvSpPr>
        <p:spPr>
          <a:xfrm>
            <a:off x="5297127" y="3607750"/>
            <a:ext cx="199000" cy="199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AF09FCB5-4687-C83E-D9B6-0A994FECCAC9}"/>
              </a:ext>
            </a:extLst>
          </p:cNvPr>
          <p:cNvSpPr/>
          <p:nvPr/>
        </p:nvSpPr>
        <p:spPr>
          <a:xfrm>
            <a:off x="5297127" y="4277255"/>
            <a:ext cx="199000" cy="199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4ED82259-A210-1332-D3E3-9DB76F4BE3B6}"/>
              </a:ext>
            </a:extLst>
          </p:cNvPr>
          <p:cNvSpPr/>
          <p:nvPr/>
        </p:nvSpPr>
        <p:spPr>
          <a:xfrm>
            <a:off x="5297211" y="4949261"/>
            <a:ext cx="199000" cy="199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4F35A1D8-EB21-E7FD-A015-6DEFBB702E56}"/>
              </a:ext>
            </a:extLst>
          </p:cNvPr>
          <p:cNvSpPr/>
          <p:nvPr/>
        </p:nvSpPr>
        <p:spPr>
          <a:xfrm>
            <a:off x="5297127" y="5507538"/>
            <a:ext cx="199000" cy="199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232FCEE-D591-866F-4B49-BCCA97BA768B}"/>
              </a:ext>
            </a:extLst>
          </p:cNvPr>
          <p:cNvSpPr/>
          <p:nvPr/>
        </p:nvSpPr>
        <p:spPr>
          <a:xfrm>
            <a:off x="5541839" y="627679"/>
            <a:ext cx="5904000" cy="36576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ppoint a 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ngle point of contact 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this engagement and 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alize on project start date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55778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7D20635-05B2-197C-19FE-3B02FFC2C2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DF0A5C8-D9EF-D73F-1868-3B49EB195C41}"/>
              </a:ext>
            </a:extLst>
          </p:cNvPr>
          <p:cNvSpPr/>
          <p:nvPr/>
        </p:nvSpPr>
        <p:spPr>
          <a:xfrm>
            <a:off x="0" y="0"/>
            <a:ext cx="4852035" cy="6857999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0"/>
                </a:schemeClr>
              </a:gs>
              <a:gs pos="50000">
                <a:schemeClr val="accent3">
                  <a:lumMod val="75000"/>
                </a:schemeClr>
              </a:gs>
              <a:gs pos="100000">
                <a:schemeClr val="accent2">
                  <a:lumMod val="7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FDDE3B73-4642-43D0-1BF6-CAD26011E4AD}"/>
              </a:ext>
            </a:extLst>
          </p:cNvPr>
          <p:cNvSpPr txBox="1">
            <a:spLocks/>
          </p:cNvSpPr>
          <p:nvPr/>
        </p:nvSpPr>
        <p:spPr bwMode="gray">
          <a:xfrm>
            <a:off x="5943600" y="6563358"/>
            <a:ext cx="304800" cy="88901"/>
          </a:xfrm>
          <a:prstGeom prst="rect">
            <a:avLst/>
          </a:prstGeom>
          <a:ln w="3175"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lnSpc>
                <a:spcPct val="100000"/>
              </a:lnSpc>
              <a:defRPr lang="en-US"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E6DAF-806F-404B-BC68-339BFCB57E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70F2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70F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FAC1CE56-8837-EB8C-94E7-4B3CAC30A705}"/>
              </a:ext>
            </a:extLst>
          </p:cNvPr>
          <p:cNvSpPr txBox="1">
            <a:spLocks/>
          </p:cNvSpPr>
          <p:nvPr/>
        </p:nvSpPr>
        <p:spPr>
          <a:xfrm>
            <a:off x="240847" y="6524626"/>
            <a:ext cx="4852035" cy="17489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5 NTT DATA Inc.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195FA49-C7F6-2B64-D035-8AD2BE7145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166" y="2306206"/>
            <a:ext cx="4281533" cy="581559"/>
          </a:xfrm>
        </p:spPr>
        <p:txBody>
          <a:bodyPr/>
          <a:lstStyle/>
          <a:p>
            <a:r>
              <a:rPr lang="en-US" sz="4800">
                <a:solidFill>
                  <a:schemeClr val="bg1"/>
                </a:solidFill>
              </a:rPr>
              <a:t>Detailed Workshops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A5FEEA28-F0BA-881D-D17F-D8C77BD7B26B}"/>
              </a:ext>
            </a:extLst>
          </p:cNvPr>
          <p:cNvSpPr txBox="1">
            <a:spLocks/>
          </p:cNvSpPr>
          <p:nvPr/>
        </p:nvSpPr>
        <p:spPr bwMode="gray">
          <a:xfrm>
            <a:off x="430167" y="480949"/>
            <a:ext cx="1664447" cy="119146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800" b="0" i="0" u="none" strike="noStrike" kern="1200" cap="none" spc="0" normalizeH="0" baseline="0" noProof="0">
                <a:ln>
                  <a:noFill/>
                </a:ln>
                <a:solidFill>
                  <a:srgbClr val="19A3FC"/>
                </a:solidFill>
                <a:effectLst/>
                <a:uLnTx/>
                <a:uFillTx/>
                <a:latin typeface="Georgia" panose="02040502050405020303" pitchFamily="18" charset="0"/>
                <a:ea typeface="+mj-ea"/>
                <a:cs typeface="+mj-cs"/>
              </a:rPr>
              <a:t>03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6959119-60E3-F79F-5495-9ED22C2FE8FA}"/>
              </a:ext>
            </a:extLst>
          </p:cNvPr>
          <p:cNvCxnSpPr/>
          <p:nvPr/>
        </p:nvCxnSpPr>
        <p:spPr>
          <a:xfrm>
            <a:off x="355739" y="4156241"/>
            <a:ext cx="408867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phic 18" descr="Blueprint outline">
            <a:extLst>
              <a:ext uri="{FF2B5EF4-FFF2-40B4-BE49-F238E27FC236}">
                <a16:creationId xmlns:a16="http://schemas.microsoft.com/office/drawing/2014/main" id="{551D4956-69A4-1925-CE79-5ACBAB5A3D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81597" y="577971"/>
            <a:ext cx="1106424" cy="1106424"/>
          </a:xfrm>
          <a:prstGeom prst="rect">
            <a:avLst/>
          </a:prstGeom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1869C718-E7F5-CF29-EDF8-039340C863BA}"/>
              </a:ext>
            </a:extLst>
          </p:cNvPr>
          <p:cNvGrpSpPr/>
          <p:nvPr/>
        </p:nvGrpSpPr>
        <p:grpSpPr>
          <a:xfrm>
            <a:off x="5194217" y="561037"/>
            <a:ext cx="6141941" cy="5391853"/>
            <a:chOff x="5194217" y="561037"/>
            <a:chExt cx="6141941" cy="5391853"/>
          </a:xfrm>
        </p:grpSpPr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ECC58D3A-021C-4CF2-6039-24EAE060861D}"/>
                </a:ext>
              </a:extLst>
            </p:cNvPr>
            <p:cNvSpPr txBox="1"/>
            <p:nvPr/>
          </p:nvSpPr>
          <p:spPr>
            <a:xfrm>
              <a:off x="5194217" y="561037"/>
              <a:ext cx="3443335" cy="314772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5B96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orkshops</a:t>
              </a: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37E26560-5425-057B-AC99-79C637608B18}"/>
                </a:ext>
              </a:extLst>
            </p:cNvPr>
            <p:cNvSpPr txBox="1"/>
            <p:nvPr/>
          </p:nvSpPr>
          <p:spPr>
            <a:xfrm>
              <a:off x="5948758" y="1029101"/>
              <a:ext cx="5220000" cy="254000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 Demi" panose="020B0704020202020204" pitchFamily="34" charset="0"/>
                  <a:ea typeface="+mn-ea"/>
                  <a:cs typeface="+mn-cs"/>
                </a:rPr>
                <a:t>Stakeholder Alignment &amp; Initial Discovery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6E2DBAB1-7F45-0CC8-CE68-E3F5020ED127}"/>
                </a:ext>
              </a:extLst>
            </p:cNvPr>
            <p:cNvSpPr txBox="1"/>
            <p:nvPr/>
          </p:nvSpPr>
          <p:spPr>
            <a:xfrm>
              <a:off x="5948758" y="1603617"/>
              <a:ext cx="5220000" cy="254000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 Demi" panose="020B0704020202020204" pitchFamily="34" charset="0"/>
                  <a:ea typeface="+mn-ea"/>
                  <a:cs typeface="+mn-cs"/>
                </a:rPr>
                <a:t>Current Service Management Review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AC89A241-CB87-4659-0D81-91ADA1CBAC13}"/>
                </a:ext>
              </a:extLst>
            </p:cNvPr>
            <p:cNvSpPr txBox="1"/>
            <p:nvPr/>
          </p:nvSpPr>
          <p:spPr>
            <a:xfrm>
              <a:off x="5948758" y="2178133"/>
              <a:ext cx="5220000" cy="254000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 Demi" panose="020B0704020202020204" pitchFamily="34" charset="0"/>
                  <a:ea typeface="+mn-ea"/>
                  <a:cs typeface="+mn-cs"/>
                </a:rPr>
                <a:t>Observability Overview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0C59A92A-70DF-3357-E302-15CE2733ACE0}"/>
                </a:ext>
              </a:extLst>
            </p:cNvPr>
            <p:cNvSpPr txBox="1"/>
            <p:nvPr/>
          </p:nvSpPr>
          <p:spPr>
            <a:xfrm>
              <a:off x="5948758" y="2752649"/>
              <a:ext cx="5220000" cy="254000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 Demi" panose="020B0704020202020204" pitchFamily="34" charset="0"/>
                  <a:ea typeface="+mn-ea"/>
                  <a:cs typeface="+mn-cs"/>
                </a:rPr>
                <a:t>Logs, Metrics and Traces Strategy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8879A18-B059-B19F-1512-89BF3A6C9AD0}"/>
                </a:ext>
              </a:extLst>
            </p:cNvPr>
            <p:cNvSpPr txBox="1"/>
            <p:nvPr/>
          </p:nvSpPr>
          <p:spPr>
            <a:xfrm>
              <a:off x="5948758" y="3327165"/>
              <a:ext cx="5220000" cy="254000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 Demi" panose="020B0704020202020204" pitchFamily="34" charset="0"/>
                  <a:ea typeface="+mn-ea"/>
                  <a:cs typeface="+mn-cs"/>
                </a:rPr>
                <a:t>Monitoring &amp; Dashboard Review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FA5BDA1-7E64-3BD6-778D-B2880A1B05A1}"/>
                </a:ext>
              </a:extLst>
            </p:cNvPr>
            <p:cNvSpPr txBox="1"/>
            <p:nvPr/>
          </p:nvSpPr>
          <p:spPr>
            <a:xfrm>
              <a:off x="5948758" y="3901681"/>
              <a:ext cx="5220000" cy="254000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 Demi" panose="020B0704020202020204" pitchFamily="34" charset="0"/>
                  <a:ea typeface="+mn-ea"/>
                  <a:cs typeface="+mn-cs"/>
                </a:rPr>
                <a:t>Alerting &amp; Incident Detection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11B3D8BF-8B6E-A3BD-1625-F00EAED61760}"/>
                </a:ext>
              </a:extLst>
            </p:cNvPr>
            <p:cNvSpPr txBox="1"/>
            <p:nvPr/>
          </p:nvSpPr>
          <p:spPr>
            <a:xfrm>
              <a:off x="5948758" y="4476197"/>
              <a:ext cx="5220000" cy="254000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 Demi" panose="020B0704020202020204" pitchFamily="34" charset="0"/>
                  <a:ea typeface="+mn-ea"/>
                  <a:cs typeface="+mn-cs"/>
                </a:rPr>
                <a:t>Incident RCA, Postmortem &amp; Failure Correlation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BE1A8974-FDB6-46C4-D818-F3C5C1E5FAAA}"/>
                </a:ext>
              </a:extLst>
            </p:cNvPr>
            <p:cNvSpPr txBox="1"/>
            <p:nvPr/>
          </p:nvSpPr>
          <p:spPr>
            <a:xfrm>
              <a:off x="5948758" y="5050713"/>
              <a:ext cx="5220000" cy="254000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 Demi" panose="020B0704020202020204" pitchFamily="34" charset="0"/>
                  <a:ea typeface="+mn-ea"/>
                  <a:cs typeface="+mn-cs"/>
                </a:rPr>
                <a:t>Request tracing &amp; Performance Bottleneck Analysis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81D0F2FA-A72B-708F-07D5-FF6A3DB05AA8}"/>
                </a:ext>
              </a:extLst>
            </p:cNvPr>
            <p:cNvSpPr txBox="1"/>
            <p:nvPr/>
          </p:nvSpPr>
          <p:spPr>
            <a:xfrm>
              <a:off x="5948758" y="5625231"/>
              <a:ext cx="5220000" cy="254000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 Demi" panose="020B0704020202020204" pitchFamily="34" charset="0"/>
                  <a:ea typeface="+mn-ea"/>
                  <a:cs typeface="+mn-cs"/>
                </a:rPr>
                <a:t>Gap Summary &amp; Prioritization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5FF19312-9C85-29D1-2575-71FAF5DCC182}"/>
                </a:ext>
              </a:extLst>
            </p:cNvPr>
            <p:cNvSpPr txBox="1"/>
            <p:nvPr/>
          </p:nvSpPr>
          <p:spPr>
            <a:xfrm>
              <a:off x="5530141" y="1018232"/>
              <a:ext cx="320492" cy="264869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1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D6D5347D-2BD0-F419-08FB-ECCFAE8A2DA5}"/>
                </a:ext>
              </a:extLst>
            </p:cNvPr>
            <p:cNvSpPr txBox="1"/>
            <p:nvPr/>
          </p:nvSpPr>
          <p:spPr>
            <a:xfrm>
              <a:off x="5530141" y="1591236"/>
              <a:ext cx="320492" cy="264869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2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E42F497D-50D8-335E-73D0-00E76CD0C133}"/>
                </a:ext>
              </a:extLst>
            </p:cNvPr>
            <p:cNvSpPr txBox="1"/>
            <p:nvPr/>
          </p:nvSpPr>
          <p:spPr>
            <a:xfrm>
              <a:off x="5530141" y="2164240"/>
              <a:ext cx="320492" cy="264869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3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957AF911-5966-4A0B-8F1D-2B881AEF0A73}"/>
                </a:ext>
              </a:extLst>
            </p:cNvPr>
            <p:cNvSpPr txBox="1"/>
            <p:nvPr/>
          </p:nvSpPr>
          <p:spPr>
            <a:xfrm>
              <a:off x="5530141" y="2737244"/>
              <a:ext cx="320492" cy="264869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4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B9DB6CF5-905A-E04D-21D7-6EA7FF98CA3A}"/>
                </a:ext>
              </a:extLst>
            </p:cNvPr>
            <p:cNvSpPr txBox="1"/>
            <p:nvPr/>
          </p:nvSpPr>
          <p:spPr>
            <a:xfrm>
              <a:off x="5530141" y="3310248"/>
              <a:ext cx="320492" cy="264869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78BF1D87-B3E2-A61E-C935-8AE93FE47346}"/>
                </a:ext>
              </a:extLst>
            </p:cNvPr>
            <p:cNvSpPr txBox="1"/>
            <p:nvPr/>
          </p:nvSpPr>
          <p:spPr>
            <a:xfrm>
              <a:off x="5530141" y="3883252"/>
              <a:ext cx="320492" cy="264869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B136BCBA-8BCE-5FBF-D2D9-2769FA013F40}"/>
                </a:ext>
              </a:extLst>
            </p:cNvPr>
            <p:cNvSpPr txBox="1"/>
            <p:nvPr/>
          </p:nvSpPr>
          <p:spPr>
            <a:xfrm>
              <a:off x="5530141" y="4456256"/>
              <a:ext cx="320492" cy="264869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C75C0D89-C613-BE03-ED51-7EC16A65424F}"/>
                </a:ext>
              </a:extLst>
            </p:cNvPr>
            <p:cNvSpPr txBox="1"/>
            <p:nvPr/>
          </p:nvSpPr>
          <p:spPr>
            <a:xfrm>
              <a:off x="5530141" y="5029260"/>
              <a:ext cx="320492" cy="264869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FD8BC157-B661-D977-4E40-2FB805C1DC44}"/>
                </a:ext>
              </a:extLst>
            </p:cNvPr>
            <p:cNvSpPr txBox="1"/>
            <p:nvPr/>
          </p:nvSpPr>
          <p:spPr>
            <a:xfrm>
              <a:off x="5530141" y="5602262"/>
              <a:ext cx="320492" cy="264869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>
                  <a:solidFill>
                    <a:srgbClr val="1F497D"/>
                  </a:solidFill>
                  <a:latin typeface="Arial"/>
                </a:rPr>
                <a:t>09</a:t>
              </a: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EEBB6D2C-D0CB-AFD4-AABB-F02F333BBD52}"/>
                </a:ext>
              </a:extLst>
            </p:cNvPr>
            <p:cNvSpPr txBox="1"/>
            <p:nvPr/>
          </p:nvSpPr>
          <p:spPr>
            <a:xfrm rot="16200000">
              <a:off x="5067508" y="1024845"/>
              <a:ext cx="454771" cy="187385"/>
            </a:xfrm>
            <a:prstGeom prst="rect">
              <a:avLst/>
            </a:prstGeom>
            <a:solidFill>
              <a:schemeClr val="bg1">
                <a:lumMod val="85000"/>
                <a:alpha val="31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txBody>
            <a:bodyPr vert="horz" wrap="none" lIns="36576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50" b="0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venir Next LT Pro Demi" panose="020B0704020202020204" pitchFamily="34" charset="0"/>
                  <a:ea typeface="+mn-ea"/>
                  <a:cs typeface="+mn-cs"/>
                </a:rPr>
                <a:t>Week 0</a:t>
              </a:r>
            </a:p>
          </p:txBody>
        </p: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252AB54-D8AE-8590-D31D-B48F6696D4BE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58" y="1345331"/>
              <a:ext cx="59436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C79F1B-B2A3-6F6B-5EEF-EBDEF7ECDCF5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58" y="1921276"/>
              <a:ext cx="59436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92C3EAC3-FBD6-4463-0F6C-4E3E6DCB0F32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58" y="2497221"/>
              <a:ext cx="59436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55B15A2B-8009-40D0-B852-7DFAFA858DAE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58" y="3073166"/>
              <a:ext cx="59436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13609E06-CDBF-C913-08C9-7A91BA34A089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58" y="3649111"/>
              <a:ext cx="59436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FF9939DA-CFAA-0BE3-4942-803CC95D1F02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58" y="4225056"/>
              <a:ext cx="59436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EA8D0AE4-3573-1217-AC2E-A9A9145CBE51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58" y="4801001"/>
              <a:ext cx="59436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FCAAC791-CE29-43EC-887E-A19E506B199B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58" y="5376946"/>
              <a:ext cx="59436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38DEBBBB-03E0-5200-7ABA-9672573D5DA3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58" y="5952890"/>
              <a:ext cx="59436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41D1391C-4C2C-4FD0-C495-50264F75666D}"/>
                </a:ext>
              </a:extLst>
            </p:cNvPr>
            <p:cNvCxnSpPr>
              <a:cxnSpLocks/>
            </p:cNvCxnSpPr>
            <p:nvPr/>
          </p:nvCxnSpPr>
          <p:spPr>
            <a:xfrm>
              <a:off x="5195940" y="890983"/>
              <a:ext cx="6126480" cy="0"/>
            </a:xfrm>
            <a:prstGeom prst="line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B9E6E254-67E3-452E-089D-58FB5ED14855}"/>
                </a:ext>
              </a:extLst>
            </p:cNvPr>
            <p:cNvSpPr txBox="1"/>
            <p:nvPr/>
          </p:nvSpPr>
          <p:spPr>
            <a:xfrm rot="16200000">
              <a:off x="4720228" y="1826305"/>
              <a:ext cx="1149335" cy="187385"/>
            </a:xfrm>
            <a:prstGeom prst="rect">
              <a:avLst/>
            </a:prstGeom>
            <a:solidFill>
              <a:schemeClr val="bg1">
                <a:lumMod val="85000"/>
                <a:alpha val="31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txBody>
            <a:bodyPr vert="horz" wrap="none" lIns="36576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50" b="0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venir Next LT Pro Demi" panose="020B0704020202020204" pitchFamily="34" charset="0"/>
                  <a:ea typeface="+mn-ea"/>
                  <a:cs typeface="+mn-cs"/>
                </a:rPr>
                <a:t>Week 1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577A556-39FB-A624-845D-45C6C77627D3}"/>
                </a:ext>
              </a:extLst>
            </p:cNvPr>
            <p:cNvSpPr txBox="1"/>
            <p:nvPr/>
          </p:nvSpPr>
          <p:spPr>
            <a:xfrm rot="16200000">
              <a:off x="4717676" y="2978193"/>
              <a:ext cx="1154442" cy="187385"/>
            </a:xfrm>
            <a:prstGeom prst="rect">
              <a:avLst/>
            </a:prstGeom>
            <a:solidFill>
              <a:schemeClr val="bg1">
                <a:lumMod val="85000"/>
                <a:alpha val="31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txBody>
            <a:bodyPr vert="horz" wrap="none" lIns="36576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50" b="0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venir Next LT Pro Demi" panose="020B0704020202020204" pitchFamily="34" charset="0"/>
                  <a:ea typeface="+mn-ea"/>
                  <a:cs typeface="+mn-cs"/>
                </a:rPr>
                <a:t>Week 2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E260C1F1-45A8-0857-DC0C-FA430837AA7D}"/>
                </a:ext>
              </a:extLst>
            </p:cNvPr>
            <p:cNvSpPr txBox="1"/>
            <p:nvPr/>
          </p:nvSpPr>
          <p:spPr>
            <a:xfrm rot="16200000">
              <a:off x="4718954" y="4131357"/>
              <a:ext cx="1151879" cy="187385"/>
            </a:xfrm>
            <a:prstGeom prst="rect">
              <a:avLst/>
            </a:prstGeom>
            <a:solidFill>
              <a:schemeClr val="bg1">
                <a:lumMod val="85000"/>
                <a:alpha val="31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txBody>
            <a:bodyPr vert="horz" wrap="none" lIns="36576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50" b="0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venir Next LT Pro Demi" panose="020B0704020202020204" pitchFamily="34" charset="0"/>
                  <a:ea typeface="+mn-ea"/>
                  <a:cs typeface="+mn-cs"/>
                </a:rPr>
                <a:t>Week 3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4D5CD49B-909B-C5EB-7B72-5785F04DBBDF}"/>
                </a:ext>
              </a:extLst>
            </p:cNvPr>
            <p:cNvSpPr txBox="1"/>
            <p:nvPr/>
          </p:nvSpPr>
          <p:spPr>
            <a:xfrm rot="16200000">
              <a:off x="4720223" y="5281977"/>
              <a:ext cx="1149341" cy="187385"/>
            </a:xfrm>
            <a:prstGeom prst="rect">
              <a:avLst/>
            </a:prstGeom>
            <a:solidFill>
              <a:schemeClr val="bg1">
                <a:lumMod val="85000"/>
                <a:alpha val="31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txBody>
            <a:bodyPr vert="horz" wrap="none" lIns="36576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50" b="0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venir Next LT Pro Demi" panose="020B0704020202020204" pitchFamily="34" charset="0"/>
                  <a:ea typeface="+mn-ea"/>
                  <a:cs typeface="+mn-cs"/>
                </a:rPr>
                <a:t>Week 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94386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4A29253-8C40-84E0-25BB-31CE6FC460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736787D-CE09-154C-5517-B2EF6011DC46}"/>
              </a:ext>
            </a:extLst>
          </p:cNvPr>
          <p:cNvSpPr/>
          <p:nvPr/>
        </p:nvSpPr>
        <p:spPr>
          <a:xfrm>
            <a:off x="1" y="0"/>
            <a:ext cx="431800" cy="6857999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0"/>
                </a:schemeClr>
              </a:gs>
              <a:gs pos="50000">
                <a:schemeClr val="accent3">
                  <a:lumMod val="75000"/>
                </a:schemeClr>
              </a:gs>
              <a:gs pos="100000">
                <a:schemeClr val="accent2">
                  <a:lumMod val="7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289B1A7E-4A23-DA0D-A419-3B5FAF628081}"/>
              </a:ext>
            </a:extLst>
          </p:cNvPr>
          <p:cNvSpPr txBox="1">
            <a:spLocks/>
          </p:cNvSpPr>
          <p:nvPr/>
        </p:nvSpPr>
        <p:spPr>
          <a:xfrm>
            <a:off x="240847" y="6524626"/>
            <a:ext cx="4852035" cy="17489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5 NTT DATA Inc.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DFE3E40-C142-10A4-67DA-395EC4EB80F5}"/>
              </a:ext>
            </a:extLst>
          </p:cNvPr>
          <p:cNvSpPr txBox="1"/>
          <p:nvPr/>
        </p:nvSpPr>
        <p:spPr>
          <a:xfrm>
            <a:off x="5075165" y="541698"/>
            <a:ext cx="2607315" cy="2811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005B96">
                    <a:lumMod val="50000"/>
                  </a:srgbClr>
                </a:solidFill>
                <a:latin typeface="Arial"/>
              </a:rPr>
              <a:t>Workshop Agenda</a:t>
            </a:r>
            <a:endParaRPr kumimoji="0" lang="en-US" b="1" i="0" u="none" strike="noStrike" kern="1200" cap="none" spc="0" normalizeH="0" baseline="0" noProof="0">
              <a:ln>
                <a:noFill/>
              </a:ln>
              <a:solidFill>
                <a:srgbClr val="005B96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07A2C92-65CA-BA27-36CC-2A9A5E87BBBE}"/>
              </a:ext>
            </a:extLst>
          </p:cNvPr>
          <p:cNvSpPr txBox="1"/>
          <p:nvPr/>
        </p:nvSpPr>
        <p:spPr>
          <a:xfrm>
            <a:off x="8651655" y="541698"/>
            <a:ext cx="2772000" cy="38265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005B96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ient Pre-Requisites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1361C17-2415-BC5F-15C9-36E145B41372}"/>
              </a:ext>
            </a:extLst>
          </p:cNvPr>
          <p:cNvGrpSpPr/>
          <p:nvPr/>
        </p:nvGrpSpPr>
        <p:grpSpPr>
          <a:xfrm>
            <a:off x="723807" y="561037"/>
            <a:ext cx="10988261" cy="5391853"/>
            <a:chOff x="5194217" y="561037"/>
            <a:chExt cx="10988261" cy="5391853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9D60C5C-BBE4-ABE9-F442-B59179115D09}"/>
                </a:ext>
              </a:extLst>
            </p:cNvPr>
            <p:cNvSpPr txBox="1"/>
            <p:nvPr/>
          </p:nvSpPr>
          <p:spPr>
            <a:xfrm>
              <a:off x="5194217" y="561037"/>
              <a:ext cx="3443335" cy="314772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5B96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orkshops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0195D339-93FE-0E7C-D050-F802246D1A48}"/>
                </a:ext>
              </a:extLst>
            </p:cNvPr>
            <p:cNvSpPr txBox="1"/>
            <p:nvPr/>
          </p:nvSpPr>
          <p:spPr>
            <a:xfrm>
              <a:off x="5948758" y="1029101"/>
              <a:ext cx="5220000" cy="254000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 Demi" panose="020B0704020202020204" pitchFamily="34" charset="0"/>
                  <a:ea typeface="+mn-ea"/>
                  <a:cs typeface="+mn-cs"/>
                </a:rPr>
                <a:t>Stakeholder Alignment &amp; Initial Discovery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892367EF-CB74-6DE8-05FF-60C4B654B484}"/>
                </a:ext>
              </a:extLst>
            </p:cNvPr>
            <p:cNvSpPr txBox="1"/>
            <p:nvPr/>
          </p:nvSpPr>
          <p:spPr>
            <a:xfrm>
              <a:off x="5948758" y="1603617"/>
              <a:ext cx="5220000" cy="254000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 Demi" panose="020B0704020202020204" pitchFamily="34" charset="0"/>
                  <a:ea typeface="+mn-ea"/>
                  <a:cs typeface="+mn-cs"/>
                </a:rPr>
                <a:t>Current Service Management Review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1004676C-D8DB-9E64-148D-06FD29866E44}"/>
                </a:ext>
              </a:extLst>
            </p:cNvPr>
            <p:cNvSpPr txBox="1"/>
            <p:nvPr/>
          </p:nvSpPr>
          <p:spPr>
            <a:xfrm>
              <a:off x="5948758" y="2178133"/>
              <a:ext cx="5220000" cy="254000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 Demi" panose="020B0704020202020204" pitchFamily="34" charset="0"/>
                  <a:ea typeface="+mn-ea"/>
                  <a:cs typeface="+mn-cs"/>
                </a:rPr>
                <a:t>Observability Overview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FE46E91F-3CBA-E9F9-0726-CCB2695DDC3C}"/>
                </a:ext>
              </a:extLst>
            </p:cNvPr>
            <p:cNvSpPr txBox="1"/>
            <p:nvPr/>
          </p:nvSpPr>
          <p:spPr>
            <a:xfrm>
              <a:off x="5948758" y="2752649"/>
              <a:ext cx="5220000" cy="254000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 Demi" panose="020B0704020202020204" pitchFamily="34" charset="0"/>
                  <a:ea typeface="+mn-ea"/>
                  <a:cs typeface="+mn-cs"/>
                </a:rPr>
                <a:t>Logs, Metrics and Traces Strategy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F414A99-AEA2-8114-CA28-3940FC05489E}"/>
                </a:ext>
              </a:extLst>
            </p:cNvPr>
            <p:cNvSpPr txBox="1"/>
            <p:nvPr/>
          </p:nvSpPr>
          <p:spPr>
            <a:xfrm>
              <a:off x="5948758" y="3327165"/>
              <a:ext cx="5220000" cy="254000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 Demi" panose="020B0704020202020204" pitchFamily="34" charset="0"/>
                  <a:ea typeface="+mn-ea"/>
                  <a:cs typeface="+mn-cs"/>
                </a:rPr>
                <a:t>Monitoring &amp; Dashboard Review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688FFE22-65BB-F999-6FB0-EB1146E682AD}"/>
                </a:ext>
              </a:extLst>
            </p:cNvPr>
            <p:cNvSpPr txBox="1"/>
            <p:nvPr/>
          </p:nvSpPr>
          <p:spPr>
            <a:xfrm>
              <a:off x="5948758" y="3901681"/>
              <a:ext cx="5220000" cy="254000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 Demi" panose="020B0704020202020204" pitchFamily="34" charset="0"/>
                  <a:ea typeface="+mn-ea"/>
                  <a:cs typeface="+mn-cs"/>
                </a:rPr>
                <a:t>Alerting &amp; Incident Detection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2A8BC35A-B9BE-9067-40FA-92ED3DD5D624}"/>
                </a:ext>
              </a:extLst>
            </p:cNvPr>
            <p:cNvSpPr txBox="1"/>
            <p:nvPr/>
          </p:nvSpPr>
          <p:spPr>
            <a:xfrm>
              <a:off x="5948758" y="4476197"/>
              <a:ext cx="5220000" cy="254000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 Demi" panose="020B0704020202020204" pitchFamily="34" charset="0"/>
                  <a:ea typeface="+mn-ea"/>
                  <a:cs typeface="+mn-cs"/>
                </a:rPr>
                <a:t>Incident RCA, Postmortem &amp; Failure Correlation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0F090CCE-A7C3-6B37-8E72-C7201C61FD0D}"/>
                </a:ext>
              </a:extLst>
            </p:cNvPr>
            <p:cNvSpPr txBox="1"/>
            <p:nvPr/>
          </p:nvSpPr>
          <p:spPr>
            <a:xfrm>
              <a:off x="5948758" y="5050713"/>
              <a:ext cx="5220000" cy="254000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 Demi" panose="020B0704020202020204" pitchFamily="34" charset="0"/>
                  <a:ea typeface="+mn-ea"/>
                  <a:cs typeface="+mn-cs"/>
                </a:rPr>
                <a:t>Request tracing &amp; Performance Bottleneck Analysis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47A6F456-61E4-BA7C-48DE-A628AD51A745}"/>
                </a:ext>
              </a:extLst>
            </p:cNvPr>
            <p:cNvSpPr txBox="1"/>
            <p:nvPr/>
          </p:nvSpPr>
          <p:spPr>
            <a:xfrm>
              <a:off x="5948758" y="5625231"/>
              <a:ext cx="5220000" cy="254000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 Demi" panose="020B0704020202020204" pitchFamily="34" charset="0"/>
                  <a:ea typeface="+mn-ea"/>
                  <a:cs typeface="+mn-cs"/>
                </a:rPr>
                <a:t>Gap Summary &amp; Prioritization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513A4F2F-C751-2102-3391-FB7BADE00481}"/>
                </a:ext>
              </a:extLst>
            </p:cNvPr>
            <p:cNvSpPr txBox="1"/>
            <p:nvPr/>
          </p:nvSpPr>
          <p:spPr>
            <a:xfrm>
              <a:off x="5530141" y="1018232"/>
              <a:ext cx="320492" cy="264869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1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071415FA-3CD5-1898-F106-0778666CBA67}"/>
                </a:ext>
              </a:extLst>
            </p:cNvPr>
            <p:cNvSpPr txBox="1"/>
            <p:nvPr/>
          </p:nvSpPr>
          <p:spPr>
            <a:xfrm>
              <a:off x="5530141" y="1591236"/>
              <a:ext cx="320492" cy="264869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2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90D33D16-1F2F-FAEC-D8AF-EDED4194CA50}"/>
                </a:ext>
              </a:extLst>
            </p:cNvPr>
            <p:cNvSpPr txBox="1"/>
            <p:nvPr/>
          </p:nvSpPr>
          <p:spPr>
            <a:xfrm>
              <a:off x="5530141" y="2164240"/>
              <a:ext cx="320492" cy="264869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3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478AD76F-2A30-0B4E-10F5-3964431E1532}"/>
                </a:ext>
              </a:extLst>
            </p:cNvPr>
            <p:cNvSpPr txBox="1"/>
            <p:nvPr/>
          </p:nvSpPr>
          <p:spPr>
            <a:xfrm>
              <a:off x="5530141" y="2737244"/>
              <a:ext cx="320492" cy="264869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4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58B5260D-47B6-FF1C-E730-D57CC50A7D48}"/>
                </a:ext>
              </a:extLst>
            </p:cNvPr>
            <p:cNvSpPr txBox="1"/>
            <p:nvPr/>
          </p:nvSpPr>
          <p:spPr>
            <a:xfrm>
              <a:off x="5530141" y="3310248"/>
              <a:ext cx="320492" cy="264869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E6AFAD2C-BD5A-DE73-BC1E-D48A31468B3A}"/>
                </a:ext>
              </a:extLst>
            </p:cNvPr>
            <p:cNvSpPr txBox="1"/>
            <p:nvPr/>
          </p:nvSpPr>
          <p:spPr>
            <a:xfrm>
              <a:off x="5530141" y="3883252"/>
              <a:ext cx="320492" cy="264869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B3A8A577-05A1-E04C-FAC0-E2415DFF8F2F}"/>
                </a:ext>
              </a:extLst>
            </p:cNvPr>
            <p:cNvSpPr txBox="1"/>
            <p:nvPr/>
          </p:nvSpPr>
          <p:spPr>
            <a:xfrm>
              <a:off x="5530141" y="4456256"/>
              <a:ext cx="320492" cy="264869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2BDA88A7-2A95-6A91-F14D-1581B7F6697D}"/>
                </a:ext>
              </a:extLst>
            </p:cNvPr>
            <p:cNvSpPr txBox="1"/>
            <p:nvPr/>
          </p:nvSpPr>
          <p:spPr>
            <a:xfrm>
              <a:off x="5530141" y="5029260"/>
              <a:ext cx="320492" cy="264869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CB78F338-46D4-D61D-7536-11248510E812}"/>
                </a:ext>
              </a:extLst>
            </p:cNvPr>
            <p:cNvSpPr txBox="1"/>
            <p:nvPr/>
          </p:nvSpPr>
          <p:spPr>
            <a:xfrm>
              <a:off x="5530141" y="5602262"/>
              <a:ext cx="320492" cy="264869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>
                  <a:solidFill>
                    <a:srgbClr val="1F497D"/>
                  </a:solidFill>
                  <a:latin typeface="Arial"/>
                </a:rPr>
                <a:t>09</a:t>
              </a: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991B2A93-A9A2-495A-AF63-E56D367F9F31}"/>
                </a:ext>
              </a:extLst>
            </p:cNvPr>
            <p:cNvSpPr txBox="1"/>
            <p:nvPr/>
          </p:nvSpPr>
          <p:spPr>
            <a:xfrm rot="16200000">
              <a:off x="5067508" y="1024845"/>
              <a:ext cx="454771" cy="187385"/>
            </a:xfrm>
            <a:prstGeom prst="rect">
              <a:avLst/>
            </a:prstGeom>
            <a:solidFill>
              <a:schemeClr val="bg1">
                <a:lumMod val="85000"/>
                <a:alpha val="31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txBody>
            <a:bodyPr vert="horz" wrap="none" lIns="36576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50" b="0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venir Next LT Pro Demi" panose="020B0704020202020204" pitchFamily="34" charset="0"/>
                  <a:ea typeface="+mn-ea"/>
                  <a:cs typeface="+mn-cs"/>
                </a:rPr>
                <a:t>Week 0</a:t>
              </a:r>
            </a:p>
          </p:txBody>
        </p: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E07E17CA-CC7F-D58E-F13F-070F13ED6D9B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58" y="1345331"/>
              <a:ext cx="1078992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E515DEDF-04E1-2581-3CFC-531BB1138E06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58" y="1921276"/>
              <a:ext cx="1078992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8D911144-F631-86E1-30C2-072320B92501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58" y="2497221"/>
              <a:ext cx="1078992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B537056A-3C8A-B0F7-720D-BF970F60EFE4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58" y="3073166"/>
              <a:ext cx="1078992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61068325-1F0D-57A4-3121-EDB809A643E4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58" y="3649111"/>
              <a:ext cx="1078992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674E79B8-AB60-8AC0-16C3-9F056E030201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58" y="4225056"/>
              <a:ext cx="1078992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7309C45B-70BF-781E-E672-E70CDB8A34FB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58" y="4801001"/>
              <a:ext cx="1078992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A416DBA0-F40E-6A69-E6DA-F6195B7C88AF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58" y="5376946"/>
              <a:ext cx="1078992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A4941569-22A3-0456-A9BF-A1C5863CD0D3}"/>
                </a:ext>
              </a:extLst>
            </p:cNvPr>
            <p:cNvCxnSpPr>
              <a:cxnSpLocks/>
            </p:cNvCxnSpPr>
            <p:nvPr/>
          </p:nvCxnSpPr>
          <p:spPr>
            <a:xfrm>
              <a:off x="5392558" y="5952890"/>
              <a:ext cx="1078992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5F5C30E9-7904-6A54-295F-1C6BE92864AA}"/>
                </a:ext>
              </a:extLst>
            </p:cNvPr>
            <p:cNvCxnSpPr>
              <a:cxnSpLocks/>
            </p:cNvCxnSpPr>
            <p:nvPr/>
          </p:nvCxnSpPr>
          <p:spPr>
            <a:xfrm>
              <a:off x="5195940" y="890983"/>
              <a:ext cx="10972800" cy="0"/>
            </a:xfrm>
            <a:prstGeom prst="line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C5C1833B-81E2-B6E2-8B0A-DFFCD6999520}"/>
                </a:ext>
              </a:extLst>
            </p:cNvPr>
            <p:cNvSpPr txBox="1"/>
            <p:nvPr/>
          </p:nvSpPr>
          <p:spPr>
            <a:xfrm rot="16200000">
              <a:off x="4720228" y="1826305"/>
              <a:ext cx="1149335" cy="187385"/>
            </a:xfrm>
            <a:prstGeom prst="rect">
              <a:avLst/>
            </a:prstGeom>
            <a:solidFill>
              <a:schemeClr val="bg1">
                <a:lumMod val="85000"/>
                <a:alpha val="31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txBody>
            <a:bodyPr vert="horz" wrap="none" lIns="36576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50" b="0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venir Next LT Pro Demi" panose="020B0704020202020204" pitchFamily="34" charset="0"/>
                  <a:ea typeface="+mn-ea"/>
                  <a:cs typeface="+mn-cs"/>
                </a:rPr>
                <a:t>Week 1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2123C363-49A6-580B-95C9-EC2607C50BB0}"/>
                </a:ext>
              </a:extLst>
            </p:cNvPr>
            <p:cNvSpPr txBox="1"/>
            <p:nvPr/>
          </p:nvSpPr>
          <p:spPr>
            <a:xfrm rot="16200000">
              <a:off x="4717676" y="2978193"/>
              <a:ext cx="1154442" cy="187385"/>
            </a:xfrm>
            <a:prstGeom prst="rect">
              <a:avLst/>
            </a:prstGeom>
            <a:solidFill>
              <a:schemeClr val="bg1">
                <a:lumMod val="85000"/>
                <a:alpha val="31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txBody>
            <a:bodyPr vert="horz" wrap="none" lIns="36576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50" b="0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venir Next LT Pro Demi" panose="020B0704020202020204" pitchFamily="34" charset="0"/>
                  <a:ea typeface="+mn-ea"/>
                  <a:cs typeface="+mn-cs"/>
                </a:rPr>
                <a:t>Week 2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A4F928D2-9A8D-AC9F-4278-23BE7CA946C8}"/>
                </a:ext>
              </a:extLst>
            </p:cNvPr>
            <p:cNvSpPr txBox="1"/>
            <p:nvPr/>
          </p:nvSpPr>
          <p:spPr>
            <a:xfrm rot="16200000">
              <a:off x="4718954" y="4131357"/>
              <a:ext cx="1151879" cy="187385"/>
            </a:xfrm>
            <a:prstGeom prst="rect">
              <a:avLst/>
            </a:prstGeom>
            <a:solidFill>
              <a:schemeClr val="bg1">
                <a:lumMod val="85000"/>
                <a:alpha val="31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txBody>
            <a:bodyPr vert="horz" wrap="none" lIns="36576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50" b="0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venir Next LT Pro Demi" panose="020B0704020202020204" pitchFamily="34" charset="0"/>
                  <a:ea typeface="+mn-ea"/>
                  <a:cs typeface="+mn-cs"/>
                </a:rPr>
                <a:t>Week 3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2E3E8AF6-DC13-CF46-4DF8-0F46AEA9611F}"/>
                </a:ext>
              </a:extLst>
            </p:cNvPr>
            <p:cNvSpPr txBox="1"/>
            <p:nvPr/>
          </p:nvSpPr>
          <p:spPr>
            <a:xfrm rot="16200000">
              <a:off x="4720223" y="5281977"/>
              <a:ext cx="1149341" cy="187385"/>
            </a:xfrm>
            <a:prstGeom prst="rect">
              <a:avLst/>
            </a:prstGeom>
            <a:solidFill>
              <a:schemeClr val="bg1">
                <a:lumMod val="85000"/>
                <a:alpha val="31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txBody>
            <a:bodyPr vert="horz" wrap="none" lIns="36576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50" b="0" i="0" u="none" strike="noStrike" kern="1200" cap="none" spc="0" normalizeH="0" baseline="0" noProof="0">
                  <a:ln>
                    <a:noFill/>
                  </a:ln>
                  <a:solidFill>
                    <a:srgbClr val="0072BC"/>
                  </a:solidFill>
                  <a:effectLst/>
                  <a:uLnTx/>
                  <a:uFillTx/>
                  <a:latin typeface="Avenir Next LT Pro Demi" panose="020B0704020202020204" pitchFamily="34" charset="0"/>
                  <a:ea typeface="+mn-ea"/>
                  <a:cs typeface="+mn-cs"/>
                </a:rPr>
                <a:t>Week 4</a:t>
              </a:r>
            </a:p>
          </p:txBody>
        </p:sp>
      </p:grp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B94216FD-F45B-CD0E-5E7C-53DE84E6AD26}"/>
              </a:ext>
            </a:extLst>
          </p:cNvPr>
          <p:cNvCxnSpPr>
            <a:cxnSpLocks/>
          </p:cNvCxnSpPr>
          <p:nvPr/>
        </p:nvCxnSpPr>
        <p:spPr>
          <a:xfrm>
            <a:off x="8553904" y="561010"/>
            <a:ext cx="0" cy="53949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>
            <a:extLst>
              <a:ext uri="{FF2B5EF4-FFF2-40B4-BE49-F238E27FC236}">
                <a16:creationId xmlns:a16="http://schemas.microsoft.com/office/drawing/2014/main" id="{ED941E5A-7306-5133-E7EE-6EEC352A7D80}"/>
              </a:ext>
            </a:extLst>
          </p:cNvPr>
          <p:cNvSpPr txBox="1"/>
          <p:nvPr/>
        </p:nvSpPr>
        <p:spPr>
          <a:xfrm>
            <a:off x="8688542" y="900923"/>
            <a:ext cx="3200400" cy="44805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</a:rPr>
              <a:t>List of key contacts across SRE, Dev, Ops and leadership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2A1DA313-5554-3709-C96A-7651B79AE362}"/>
              </a:ext>
            </a:extLst>
          </p:cNvPr>
          <p:cNvSpPr txBox="1"/>
          <p:nvPr/>
        </p:nvSpPr>
        <p:spPr>
          <a:xfrm>
            <a:off x="8688543" y="1363087"/>
            <a:ext cx="3200400" cy="57607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</a:rPr>
              <a:t>List of service management tools in use &amp; access to those tool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</a:rPr>
              <a:t>Incident management workflows &amp; past postmortems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7315A212-CF97-10C9-009D-EB837A66094F}"/>
              </a:ext>
            </a:extLst>
          </p:cNvPr>
          <p:cNvSpPr txBox="1"/>
          <p:nvPr/>
        </p:nvSpPr>
        <p:spPr>
          <a:xfrm>
            <a:off x="8688541" y="1919342"/>
            <a:ext cx="3200400" cy="57607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</a:rPr>
              <a:t>Architecture diagram of selected applic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</a:rPr>
              <a:t>List of observability tools &amp; access to dashboards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15D6FADD-3F7F-D8B4-6AE7-40C3BADA4E4D}"/>
              </a:ext>
            </a:extLst>
          </p:cNvPr>
          <p:cNvSpPr txBox="1"/>
          <p:nvPr/>
        </p:nvSpPr>
        <p:spPr>
          <a:xfrm>
            <a:off x="8688542" y="2493948"/>
            <a:ext cx="3200400" cy="57607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</a:rPr>
              <a:t>Access to </a:t>
            </a:r>
            <a:r>
              <a:rPr lang="en-US" sz="1000">
                <a:solidFill>
                  <a:srgbClr val="000000"/>
                </a:solidFill>
                <a:latin typeface="Aptos" panose="020B0004020202020204" pitchFamily="34" charset="0"/>
              </a:rPr>
              <a:t>available observability tools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</a:rPr>
              <a:t>Retention policies &amp; sample </a:t>
            </a:r>
            <a:r>
              <a:rPr lang="en-US" sz="1000">
                <a:solidFill>
                  <a:srgbClr val="000000"/>
                </a:solidFill>
                <a:latin typeface="Aptos" panose="020B0004020202020204" pitchFamily="34" charset="0"/>
              </a:rPr>
              <a:t>data-set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</a:rPr>
              <a:t> for analysis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0D6D333A-A001-8183-2F81-51CF5F4E082F}"/>
              </a:ext>
            </a:extLst>
          </p:cNvPr>
          <p:cNvSpPr txBox="1"/>
          <p:nvPr/>
        </p:nvSpPr>
        <p:spPr>
          <a:xfrm>
            <a:off x="8688541" y="3068554"/>
            <a:ext cx="3200400" cy="57607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</a:rPr>
              <a:t>Access to monitoring dashboard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</a:rPr>
              <a:t>Lost of critical SLIs currently being monitored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E4602DDF-BD65-C09D-B1A2-D1E7D8423C36}"/>
              </a:ext>
            </a:extLst>
          </p:cNvPr>
          <p:cNvSpPr txBox="1"/>
          <p:nvPr/>
        </p:nvSpPr>
        <p:spPr>
          <a:xfrm>
            <a:off x="8688542" y="4217766"/>
            <a:ext cx="3200400" cy="57607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</a:rPr>
              <a:t>Sample RCA report from recent incid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</a:rPr>
              <a:t>Historical outage data &amp; platform logs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B74F979F-BC93-B612-25F0-603E8ECB0DC8}"/>
              </a:ext>
            </a:extLst>
          </p:cNvPr>
          <p:cNvSpPr txBox="1"/>
          <p:nvPr/>
        </p:nvSpPr>
        <p:spPr>
          <a:xfrm>
            <a:off x="8688542" y="4792372"/>
            <a:ext cx="3200400" cy="57607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</a:rPr>
              <a:t>Access to tracing tools &amp; sample trac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</a:rPr>
              <a:t>Performance monitoring reports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2F4D4219-4297-E9FC-BF85-4DC6C1AED56D}"/>
              </a:ext>
            </a:extLst>
          </p:cNvPr>
          <p:cNvSpPr txBox="1"/>
          <p:nvPr/>
        </p:nvSpPr>
        <p:spPr>
          <a:xfrm>
            <a:off x="8688542" y="5366980"/>
            <a:ext cx="3200400" cy="57607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</a:rPr>
              <a:t>Access to any past assessment (if available)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40389695-47F5-CE3F-3EE7-0B9EBE84C1F6}"/>
              </a:ext>
            </a:extLst>
          </p:cNvPr>
          <p:cNvSpPr txBox="1"/>
          <p:nvPr/>
        </p:nvSpPr>
        <p:spPr>
          <a:xfrm>
            <a:off x="8688541" y="3643160"/>
            <a:ext cx="3200400" cy="57607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</a:rPr>
              <a:t>Access to alerting tool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</a:rPr>
              <a:t>Incident response documentation</a:t>
            </a: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ED5DB69B-2C50-CEEB-5DD7-41B9922E2D99}"/>
              </a:ext>
            </a:extLst>
          </p:cNvPr>
          <p:cNvCxnSpPr>
            <a:cxnSpLocks/>
          </p:cNvCxnSpPr>
          <p:nvPr/>
        </p:nvCxnSpPr>
        <p:spPr>
          <a:xfrm>
            <a:off x="4947001" y="561010"/>
            <a:ext cx="0" cy="53949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Box 88">
            <a:extLst>
              <a:ext uri="{FF2B5EF4-FFF2-40B4-BE49-F238E27FC236}">
                <a16:creationId xmlns:a16="http://schemas.microsoft.com/office/drawing/2014/main" id="{B1165A64-1767-6482-9956-73F5B9594623}"/>
              </a:ext>
            </a:extLst>
          </p:cNvPr>
          <p:cNvSpPr txBox="1"/>
          <p:nvPr/>
        </p:nvSpPr>
        <p:spPr>
          <a:xfrm>
            <a:off x="5056328" y="901506"/>
            <a:ext cx="3383280" cy="44697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</a:rPr>
              <a:t>Align on scope, objectives &amp; assessment approach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</a:rPr>
              <a:t>Identify key stakeholders &amp; their expectations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11DF9E47-6521-C02E-3179-ED0448DF6807}"/>
              </a:ext>
            </a:extLst>
          </p:cNvPr>
          <p:cNvSpPr txBox="1"/>
          <p:nvPr/>
        </p:nvSpPr>
        <p:spPr>
          <a:xfrm>
            <a:off x="5056329" y="1425442"/>
            <a:ext cx="3383280" cy="46166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</a:rPr>
              <a:t>Understand current service management practices (ITIL, DevOps, SRE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</a:rPr>
              <a:t>Review incident handling escalation &amp; resolution process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70C31495-16B1-16FC-0C40-55E423CC5CCB}"/>
              </a:ext>
            </a:extLst>
          </p:cNvPr>
          <p:cNvSpPr txBox="1"/>
          <p:nvPr/>
        </p:nvSpPr>
        <p:spPr>
          <a:xfrm>
            <a:off x="5056329" y="1981649"/>
            <a:ext cx="3383280" cy="46166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</a:rPr>
              <a:t>Understand current observability implemented for application/ infra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</a:rPr>
              <a:t>Identify dependencies &amp; observability gaps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943BC27A-0292-FE72-E96A-648C83CBB89B}"/>
              </a:ext>
            </a:extLst>
          </p:cNvPr>
          <p:cNvSpPr txBox="1"/>
          <p:nvPr/>
        </p:nvSpPr>
        <p:spPr>
          <a:xfrm>
            <a:off x="5056329" y="3209507"/>
            <a:ext cx="3383280" cy="3077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</a:rPr>
              <a:t>Review logging, metrics, &amp; traces strateg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</a:rPr>
              <a:t>Assess retention, security policies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60954526-B719-C37B-F299-CAB92885CBBC}"/>
              </a:ext>
            </a:extLst>
          </p:cNvPr>
          <p:cNvSpPr txBox="1"/>
          <p:nvPr/>
        </p:nvSpPr>
        <p:spPr>
          <a:xfrm>
            <a:off x="5056329" y="3784964"/>
            <a:ext cx="3383280" cy="3077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</a:rPr>
              <a:t>Assess monitoring tools, dashboarding capabilities and key metrics tracked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4D84C055-F1C8-5AD5-DB74-6561D42F00B3}"/>
              </a:ext>
            </a:extLst>
          </p:cNvPr>
          <p:cNvSpPr txBox="1"/>
          <p:nvPr/>
        </p:nvSpPr>
        <p:spPr>
          <a:xfrm>
            <a:off x="5044752" y="4283477"/>
            <a:ext cx="3383280" cy="46166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</a:rPr>
              <a:t>Understand how failures are diagnosed and correlated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</a:rPr>
              <a:t>Review RCA findings, &amp; how postmortems are conducted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</a:rPr>
              <a:t>Assess incident workflows &amp; knowledge sharing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89390530-0AF2-C238-DDC6-4668C5DDB75C}"/>
              </a:ext>
            </a:extLst>
          </p:cNvPr>
          <p:cNvSpPr txBox="1"/>
          <p:nvPr/>
        </p:nvSpPr>
        <p:spPr>
          <a:xfrm>
            <a:off x="5056328" y="4935878"/>
            <a:ext cx="3383280" cy="3077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</a:rPr>
              <a:t>Assess distributed tracing capabiliti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</a:rPr>
              <a:t>Identify performance bottlenecks &amp; dependency issues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66A10542-B674-A606-29F4-7D010D489A9C}"/>
              </a:ext>
            </a:extLst>
          </p:cNvPr>
          <p:cNvSpPr txBox="1"/>
          <p:nvPr/>
        </p:nvSpPr>
        <p:spPr>
          <a:xfrm>
            <a:off x="5056329" y="5434389"/>
            <a:ext cx="3383280" cy="46166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</a:rPr>
              <a:t>Consolidate observability, incident management &amp; reliability gap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</a:rPr>
              <a:t>Pen down quick wins &amp; long-term improvements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17AF50F9-145D-8364-5CF5-F4E8D3143DAE}"/>
              </a:ext>
            </a:extLst>
          </p:cNvPr>
          <p:cNvSpPr txBox="1"/>
          <p:nvPr/>
        </p:nvSpPr>
        <p:spPr>
          <a:xfrm>
            <a:off x="5056329" y="2557107"/>
            <a:ext cx="3383280" cy="46166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</a:rPr>
              <a:t>Assess alerting mechanisms, false positives &amp; escalation workflow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</a:rPr>
              <a:t>Review how incidents are detected &amp; triaged in Production</a:t>
            </a:r>
          </a:p>
        </p:txBody>
      </p:sp>
    </p:spTree>
    <p:extLst>
      <p:ext uri="{BB962C8B-B14F-4D97-AF65-F5344CB8AC3E}">
        <p14:creationId xmlns:p14="http://schemas.microsoft.com/office/powerpoint/2010/main" val="10397741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9F1A2E0-C278-D6D2-0D53-CDC6FB969B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144D919E-D4B9-F324-1C89-911CC60FB347}"/>
              </a:ext>
            </a:extLst>
          </p:cNvPr>
          <p:cNvSpPr/>
          <p:nvPr/>
        </p:nvSpPr>
        <p:spPr>
          <a:xfrm>
            <a:off x="0" y="0"/>
            <a:ext cx="4852035" cy="6857999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0"/>
                </a:schemeClr>
              </a:gs>
              <a:gs pos="50000">
                <a:schemeClr val="accent3">
                  <a:lumMod val="75000"/>
                </a:schemeClr>
              </a:gs>
              <a:gs pos="100000">
                <a:schemeClr val="accent2">
                  <a:lumMod val="7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7775D66F-6719-3E5E-FFA3-2D24D38A61E9}"/>
              </a:ext>
            </a:extLst>
          </p:cNvPr>
          <p:cNvSpPr txBox="1">
            <a:spLocks/>
          </p:cNvSpPr>
          <p:nvPr/>
        </p:nvSpPr>
        <p:spPr bwMode="gray">
          <a:xfrm>
            <a:off x="5943600" y="6563358"/>
            <a:ext cx="304800" cy="88901"/>
          </a:xfrm>
          <a:prstGeom prst="rect">
            <a:avLst/>
          </a:prstGeom>
          <a:ln w="3175"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lnSpc>
                <a:spcPct val="100000"/>
              </a:lnSpc>
              <a:defRPr lang="en-US"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E6DAF-806F-404B-BC68-339BFCB57E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70F2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70F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FFD5BA4F-17E0-713A-B297-6EFE95E5EE59}"/>
              </a:ext>
            </a:extLst>
          </p:cNvPr>
          <p:cNvSpPr txBox="1">
            <a:spLocks/>
          </p:cNvSpPr>
          <p:nvPr/>
        </p:nvSpPr>
        <p:spPr>
          <a:xfrm>
            <a:off x="240847" y="6524626"/>
            <a:ext cx="3187093" cy="17489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5 NTT DATA Inc.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0752604F-EA3C-8CCF-B1A8-F76DA91EEC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167" y="2306206"/>
            <a:ext cx="3367134" cy="581559"/>
          </a:xfrm>
        </p:spPr>
        <p:txBody>
          <a:bodyPr/>
          <a:lstStyle/>
          <a:p>
            <a:r>
              <a:rPr lang="en-US" sz="4800">
                <a:solidFill>
                  <a:schemeClr val="bg1"/>
                </a:solidFill>
              </a:rPr>
              <a:t>Key Questions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AB46BEB5-C1CE-C3D4-97E7-2F3980DE2F5C}"/>
              </a:ext>
            </a:extLst>
          </p:cNvPr>
          <p:cNvSpPr txBox="1">
            <a:spLocks/>
          </p:cNvSpPr>
          <p:nvPr/>
        </p:nvSpPr>
        <p:spPr bwMode="gray">
          <a:xfrm>
            <a:off x="430167" y="480949"/>
            <a:ext cx="1664447" cy="119146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800" b="0" i="0" u="none" strike="noStrike" kern="1200" cap="none" spc="0" normalizeH="0" baseline="0" noProof="0">
                <a:ln>
                  <a:noFill/>
                </a:ln>
                <a:solidFill>
                  <a:srgbClr val="19A3FC"/>
                </a:solidFill>
                <a:effectLst/>
                <a:uLnTx/>
                <a:uFillTx/>
                <a:latin typeface="Georgia" panose="02040502050405020303" pitchFamily="18" charset="0"/>
                <a:ea typeface="+mj-ea"/>
                <a:cs typeface="+mj-cs"/>
              </a:rPr>
              <a:t>04</a:t>
            </a:r>
          </a:p>
        </p:txBody>
      </p:sp>
      <p:pic>
        <p:nvPicPr>
          <p:cNvPr id="49" name="Graphic 48" descr="Questions outline">
            <a:extLst>
              <a:ext uri="{FF2B5EF4-FFF2-40B4-BE49-F238E27FC236}">
                <a16:creationId xmlns:a16="http://schemas.microsoft.com/office/drawing/2014/main" id="{D64E4975-36A0-921D-EF0F-8BCFE4BD5A4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06528" y="654461"/>
            <a:ext cx="1106424" cy="1106424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7E6B6C77-79EC-4615-E749-4A2603C0B56F}"/>
              </a:ext>
            </a:extLst>
          </p:cNvPr>
          <p:cNvSpPr txBox="1"/>
          <p:nvPr/>
        </p:nvSpPr>
        <p:spPr>
          <a:xfrm>
            <a:off x="5098115" y="422357"/>
            <a:ext cx="6851993" cy="60785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hat observability tools are currently in used for monitoring apps., infra. &amp; services (e.g., Splunk, AppD, Dynatrace, Prometheus, Grafana etc.)?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re these tools integrated with ServiceNow (or any other ticketing system) and alerting platforms (dashboards and SMTP integrations)?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ow are logs, metrics and traces collected and stored?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s there a centralized observability platform or there are multiple disjoined tools?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s there a consolidated dashboard view of an app. or a journey which shows current health?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hat are key performance indicators (KPIs) for system health and reliability?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  <a:defRPr/>
            </a:pPr>
            <a:r>
              <a:rPr kumimoji="0" lang="en-IN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hat is infra setup (on prem, cloud, hybrid, serverless)?</a:t>
            </a: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ow do you monitor infrastructure (servers, containers, databases etc.)?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hat metrics are collected for applications </a:t>
            </a:r>
            <a:r>
              <a:rPr lang="en-US" sz="1300">
                <a:solidFill>
                  <a:srgbClr val="000000"/>
                </a:solidFill>
                <a:latin typeface="Arial"/>
                <a:cs typeface="Arial"/>
              </a:rPr>
              <a:t>&amp; infrastructure </a:t>
            </a: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latency, response time, error rate, etc.)?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re there defined SLOs &amp; SLIs?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hat logging tools are in place?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hat kind of logs are collected (app., system, security, network, infra, DB etc.)?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here are logs stored and what is the log retention policy?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hat alerting tools are used?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hat are criteria for generating alerts?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ow is alert noise managed (any alert suppression mechanism in place)?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ow are alerts correlated with logs and traces for faster debugging?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hich visualization tool is used for dashboard?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re auto remediation workflows in place for common failures?</a:t>
            </a: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2E404D"/>
              </a:solidFill>
              <a:effectLst/>
              <a:uLnTx/>
              <a:uFillTx/>
              <a:latin typeface="游ゴシック" panose="02110004020202020204"/>
              <a:ea typeface="+mn-ea"/>
              <a:cs typeface="+mn-cs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877E82C4-A93B-8F10-A94C-B24894A6D07C}"/>
              </a:ext>
            </a:extLst>
          </p:cNvPr>
          <p:cNvCxnSpPr/>
          <p:nvPr/>
        </p:nvCxnSpPr>
        <p:spPr>
          <a:xfrm>
            <a:off x="355739" y="4156241"/>
            <a:ext cx="408867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50207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TT DATA DARK ">
  <a:themeElements>
    <a:clrScheme name="NTT DATA 23">
      <a:dk1>
        <a:srgbClr val="000000"/>
      </a:dk1>
      <a:lt1>
        <a:srgbClr val="FFFFFF"/>
      </a:lt1>
      <a:dk2>
        <a:srgbClr val="2E404D"/>
      </a:dk2>
      <a:lt2>
        <a:srgbClr val="19A3FC"/>
      </a:lt2>
      <a:accent1>
        <a:srgbClr val="070F26"/>
      </a:accent1>
      <a:accent2>
        <a:srgbClr val="0072BC"/>
      </a:accent2>
      <a:accent3>
        <a:srgbClr val="005B96"/>
      </a:accent3>
      <a:accent4>
        <a:srgbClr val="00DFED"/>
      </a:accent4>
      <a:accent5>
        <a:srgbClr val="00CB5D"/>
      </a:accent5>
      <a:accent6>
        <a:srgbClr val="7F7F7F"/>
      </a:accent6>
      <a:hlink>
        <a:srgbClr val="19A3FC"/>
      </a:hlink>
      <a:folHlink>
        <a:srgbClr val="0072BC"/>
      </a:folHlink>
    </a:clrScheme>
    <a:fontScheme name="NTT_Arial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 w="9525">
          <a:solidFill>
            <a:schemeClr val="accent2"/>
          </a:solidFill>
        </a:ln>
      </a:spPr>
      <a:bodyPr lIns="108000" tIns="72000" rIns="108000" bIns="72000" rtlCol="0" anchor="ctr"/>
      <a:lstStyle>
        <a:defPPr algn="ctr">
          <a:lnSpc>
            <a:spcPct val="110000"/>
          </a:lnSpc>
          <a:spcBef>
            <a:spcPts val="600"/>
          </a:spcBef>
          <a:defRPr sz="20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Yellow">
      <a:srgbClr val="FFC400"/>
    </a:custClr>
    <a:custClr name="Orange">
      <a:srgbClr val="FF7A00"/>
    </a:custClr>
    <a:custClr name="Orange 100">
      <a:srgbClr val="E42600"/>
    </a:custClr>
    <a:custClr name="Orange 150">
      <a:srgbClr val="B22000"/>
    </a:custClr>
  </a:custClrLst>
  <a:extLst>
    <a:ext uri="{05A4C25C-085E-4340-85A3-A5531E510DB2}">
      <thm15:themeFamily xmlns:thm15="http://schemas.microsoft.com/office/thememl/2012/main" name="Presentation1" id="{3E3A8BA3-9F95-4F17-92CA-FF644A8EFB0D}" vid="{F9491D1B-9ED3-424C-8FF7-D73B7E1F1C01}"/>
    </a:ext>
  </a:extLst>
</a:theme>
</file>

<file path=ppt/theme/theme2.xml><?xml version="1.0" encoding="utf-8"?>
<a:theme xmlns:a="http://schemas.openxmlformats.org/drawingml/2006/main" name="3_Light Body Slides">
  <a:themeElements>
    <a:clrScheme name="NTT DATA 2024">
      <a:dk1>
        <a:srgbClr val="FFFFFF"/>
      </a:dk1>
      <a:lt1>
        <a:srgbClr val="070F26"/>
      </a:lt1>
      <a:dk2>
        <a:srgbClr val="2E404D"/>
      </a:dk2>
      <a:lt2>
        <a:srgbClr val="0072BC"/>
      </a:lt2>
      <a:accent1>
        <a:srgbClr val="19A3FC"/>
      </a:accent1>
      <a:accent2>
        <a:srgbClr val="00DFED"/>
      </a:accent2>
      <a:accent3>
        <a:srgbClr val="00CB5D"/>
      </a:accent3>
      <a:accent4>
        <a:srgbClr val="FFC400"/>
      </a:accent4>
      <a:accent5>
        <a:srgbClr val="FF7A00"/>
      </a:accent5>
      <a:accent6>
        <a:srgbClr val="949494"/>
      </a:accent6>
      <a:hlink>
        <a:srgbClr val="0072BC"/>
      </a:hlink>
      <a:folHlink>
        <a:srgbClr val="00DFED"/>
      </a:folHlink>
    </a:clrScheme>
    <a:fontScheme name="NTT DATA Fonts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9525">
          <a:solidFill>
            <a:schemeClr val="tx1">
              <a:lumMod val="50000"/>
            </a:schemeClr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50000"/>
            </a:schemeClr>
          </a:soli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A-Smart Navy">
      <a:srgbClr val="070F26"/>
    </a:custClr>
    <a:custClr name="B-White">
      <a:srgbClr val="FFFFFF"/>
    </a:custClr>
    <a:custClr name="C-Future Blue 150">
      <a:srgbClr val="005B96"/>
    </a:custClr>
    <a:custClr name="D-Future Blue">
      <a:srgbClr val="0072BC"/>
    </a:custClr>
    <a:custClr name="E-Future Blue 50">
      <a:srgbClr val="19A3FC"/>
    </a:custClr>
    <a:custClr name="F-Turquoise 100">
      <a:srgbClr val="009AA4"/>
    </a:custClr>
    <a:custClr name="G-Turquoise">
      <a:srgbClr val="00DFED"/>
    </a:custClr>
    <a:custClr name="H-Turquoise 50">
      <a:srgbClr val="7BF7FF"/>
    </a:custClr>
    <a:custClr name="I-Green 150">
      <a:srgbClr val="068941"/>
    </a:custClr>
    <a:custClr name="J-Green">
      <a:srgbClr val="00CB5D"/>
    </a:custClr>
    <a:custClr name="K-Green 50">
      <a:srgbClr val="38F990"/>
    </a:custClr>
    <a:custClr name="L-Yellow">
      <a:srgbClr val="FFC400"/>
    </a:custClr>
    <a:custClr name="M-Yellow 50">
      <a:srgbClr val="FFEDB2"/>
    </a:custClr>
    <a:custClr name="N-Yellow 100">
      <a:srgbClr val="FFDB66"/>
    </a:custClr>
    <a:custClr name="O-Orange 150">
      <a:srgbClr val="B22000"/>
    </a:custClr>
    <a:custClr name="P-Orange 100">
      <a:srgbClr val="E42600"/>
    </a:custClr>
    <a:custClr name="Q-Orange">
      <a:srgbClr val="FF7A00"/>
    </a:custClr>
    <a:custClr name="R-Grey 100">
      <a:srgbClr val="949494"/>
    </a:custClr>
    <a:custClr name="S-Grey 50">
      <a:srgbClr val="E8E8E8"/>
    </a:custClr>
    <a:custClr name="T-Black">
      <a:srgbClr val="000000"/>
    </a:custClr>
    <a:custClr name="U-Text Grey">
      <a:srgbClr val="2E404D"/>
    </a:custClr>
  </a:custClrLst>
  <a:extLst>
    <a:ext uri="{05A4C25C-085E-4340-85A3-A5531E510DB2}">
      <thm15:themeFamily xmlns:thm15="http://schemas.microsoft.com/office/thememl/2012/main" name="NTT DATA Inc PowerPoint Template" id="{AF80A8AF-4B07-4226-8EBA-37EF46E1CCA4}" vid="{B8DBAB45-46AE-4C44-9013-69725EB76694}"/>
    </a:ext>
  </a:extLst>
</a:theme>
</file>

<file path=ppt/theme/theme3.xml><?xml version="1.0" encoding="utf-8"?>
<a:theme xmlns:a="http://schemas.openxmlformats.org/drawingml/2006/main" name="1_NTT DATA LIGHT ">
  <a:themeElements>
    <a:clrScheme name="NTT DATA 23">
      <a:dk1>
        <a:srgbClr val="000000"/>
      </a:dk1>
      <a:lt1>
        <a:srgbClr val="FFFFFF"/>
      </a:lt1>
      <a:dk2>
        <a:srgbClr val="2E404D"/>
      </a:dk2>
      <a:lt2>
        <a:srgbClr val="19A3FC"/>
      </a:lt2>
      <a:accent1>
        <a:srgbClr val="070F26"/>
      </a:accent1>
      <a:accent2>
        <a:srgbClr val="0072BC"/>
      </a:accent2>
      <a:accent3>
        <a:srgbClr val="005B96"/>
      </a:accent3>
      <a:accent4>
        <a:srgbClr val="00DFED"/>
      </a:accent4>
      <a:accent5>
        <a:srgbClr val="00CB5D"/>
      </a:accent5>
      <a:accent6>
        <a:srgbClr val="7F7F7F"/>
      </a:accent6>
      <a:hlink>
        <a:srgbClr val="19A3FC"/>
      </a:hlink>
      <a:folHlink>
        <a:srgbClr val="0072BC"/>
      </a:folHlink>
    </a:clrScheme>
    <a:fontScheme name="NTT_Arial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accent2"/>
          </a:solidFill>
        </a:ln>
      </a:spPr>
      <a:bodyPr lIns="108000" tIns="72000" rIns="108000" bIns="72000" rtlCol="0" anchor="ctr"/>
      <a:lstStyle>
        <a:defPPr algn="ctr">
          <a:lnSpc>
            <a:spcPct val="110000"/>
          </a:lnSpc>
          <a:spcBef>
            <a:spcPts val="600"/>
          </a:spcBef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Yellow">
      <a:srgbClr val="FFC400"/>
    </a:custClr>
    <a:custClr name="Orange">
      <a:srgbClr val="FF7A00"/>
    </a:custClr>
    <a:custClr name="Orange 100">
      <a:srgbClr val="E42600"/>
    </a:custClr>
    <a:custClr name="Orange 150">
      <a:srgbClr val="B22000"/>
    </a:custClr>
  </a:custClrLst>
  <a:extLst>
    <a:ext uri="{05A4C25C-085E-4340-85A3-A5531E510DB2}">
      <thm15:themeFamily xmlns:thm15="http://schemas.microsoft.com/office/thememl/2012/main" name="Presentation1" id="{3E3A8BA3-9F95-4F17-92CA-FF644A8EFB0D}" vid="{2907B668-93F1-4FDA-9BE3-643106B74569}"/>
    </a:ext>
  </a:extLst>
</a:theme>
</file>

<file path=ppt/theme/theme4.xml><?xml version="1.0" encoding="utf-8"?>
<a:theme xmlns:a="http://schemas.openxmlformats.org/drawingml/2006/main" name="7_NTT DATA LIGHT ">
  <a:themeElements>
    <a:clrScheme name="NTT DATA 23">
      <a:dk1>
        <a:srgbClr val="000000"/>
      </a:dk1>
      <a:lt1>
        <a:srgbClr val="FFFFFF"/>
      </a:lt1>
      <a:dk2>
        <a:srgbClr val="2E404D"/>
      </a:dk2>
      <a:lt2>
        <a:srgbClr val="19A3FC"/>
      </a:lt2>
      <a:accent1>
        <a:srgbClr val="070F26"/>
      </a:accent1>
      <a:accent2>
        <a:srgbClr val="0072BC"/>
      </a:accent2>
      <a:accent3>
        <a:srgbClr val="005B96"/>
      </a:accent3>
      <a:accent4>
        <a:srgbClr val="00DFED"/>
      </a:accent4>
      <a:accent5>
        <a:srgbClr val="00CB5D"/>
      </a:accent5>
      <a:accent6>
        <a:srgbClr val="7F7F7F"/>
      </a:accent6>
      <a:hlink>
        <a:srgbClr val="19A3FC"/>
      </a:hlink>
      <a:folHlink>
        <a:srgbClr val="0072BC"/>
      </a:folHlink>
    </a:clrScheme>
    <a:fontScheme name="NTT_Arial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accent2"/>
          </a:solidFill>
        </a:ln>
      </a:spPr>
      <a:bodyPr lIns="108000" tIns="72000" rIns="108000" bIns="72000" rtlCol="0" anchor="ctr"/>
      <a:lstStyle>
        <a:defPPr algn="ctr">
          <a:lnSpc>
            <a:spcPct val="110000"/>
          </a:lnSpc>
          <a:spcBef>
            <a:spcPts val="600"/>
          </a:spcBef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Yellow">
      <a:srgbClr val="FFC400"/>
    </a:custClr>
    <a:custClr name="Orange">
      <a:srgbClr val="FF7A00"/>
    </a:custClr>
    <a:custClr name="Orange 100">
      <a:srgbClr val="E42600"/>
    </a:custClr>
    <a:custClr name="Orange 150">
      <a:srgbClr val="B22000"/>
    </a:custClr>
  </a:custClrLst>
  <a:extLst>
    <a:ext uri="{05A4C25C-085E-4340-85A3-A5531E510DB2}">
      <thm15:themeFamily xmlns:thm15="http://schemas.microsoft.com/office/thememl/2012/main" name="Presentation1" id="{3E3A8BA3-9F95-4F17-92CA-FF644A8EFB0D}" vid="{2907B668-93F1-4FDA-9BE3-643106B74569}"/>
    </a:ext>
  </a:extLst>
</a:theme>
</file>

<file path=ppt/theme/theme5.xml><?xml version="1.0" encoding="utf-8"?>
<a:theme xmlns:a="http://schemas.openxmlformats.org/drawingml/2006/main" name="3_NTT DATA LIGHT ">
  <a:themeElements>
    <a:clrScheme name="NTT DATA 23">
      <a:dk1>
        <a:srgbClr val="000000"/>
      </a:dk1>
      <a:lt1>
        <a:srgbClr val="FFFFFF"/>
      </a:lt1>
      <a:dk2>
        <a:srgbClr val="2E404D"/>
      </a:dk2>
      <a:lt2>
        <a:srgbClr val="19A3FC"/>
      </a:lt2>
      <a:accent1>
        <a:srgbClr val="070F26"/>
      </a:accent1>
      <a:accent2>
        <a:srgbClr val="0072BC"/>
      </a:accent2>
      <a:accent3>
        <a:srgbClr val="005B96"/>
      </a:accent3>
      <a:accent4>
        <a:srgbClr val="00DFED"/>
      </a:accent4>
      <a:accent5>
        <a:srgbClr val="00CB5D"/>
      </a:accent5>
      <a:accent6>
        <a:srgbClr val="7F7F7F"/>
      </a:accent6>
      <a:hlink>
        <a:srgbClr val="19A3FC"/>
      </a:hlink>
      <a:folHlink>
        <a:srgbClr val="0072BC"/>
      </a:folHlink>
    </a:clrScheme>
    <a:fontScheme name="NTT_Arial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accent2"/>
          </a:solidFill>
        </a:ln>
      </a:spPr>
      <a:bodyPr lIns="108000" tIns="72000" rIns="108000" bIns="72000" rtlCol="0" anchor="ctr"/>
      <a:lstStyle>
        <a:defPPr algn="ctr">
          <a:lnSpc>
            <a:spcPct val="110000"/>
          </a:lnSpc>
          <a:spcBef>
            <a:spcPts val="600"/>
          </a:spcBef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Yellow">
      <a:srgbClr val="FFC400"/>
    </a:custClr>
    <a:custClr name="Orange">
      <a:srgbClr val="FF7A00"/>
    </a:custClr>
    <a:custClr name="Orange 100">
      <a:srgbClr val="E42600"/>
    </a:custClr>
    <a:custClr name="Orange 150">
      <a:srgbClr val="B22000"/>
    </a:custClr>
  </a:custClrLst>
  <a:extLst>
    <a:ext uri="{05A4C25C-085E-4340-85A3-A5531E510DB2}">
      <thm15:themeFamily xmlns:thm15="http://schemas.microsoft.com/office/thememl/2012/main" name="Presentation1" id="{3E3A8BA3-9F95-4F17-92CA-FF644A8EFB0D}" vid="{2907B668-93F1-4FDA-9BE3-643106B74569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11</Slides>
  <Notes>7</Notes>
  <HiddenSlides>0</HiddenSlides>
  <ScaleCrop>false</ScaleCrop>
  <HeadingPairs>
    <vt:vector size="4" baseType="variant">
      <vt:variant>
        <vt:lpstr>Theme</vt:lpstr>
      </vt:variant>
      <vt:variant>
        <vt:i4>5</vt:i4>
      </vt:variant>
      <vt:variant>
        <vt:lpstr>Slide Titles</vt:lpstr>
      </vt:variant>
      <vt:variant>
        <vt:i4>11</vt:i4>
      </vt:variant>
    </vt:vector>
  </HeadingPairs>
  <TitlesOfParts>
    <vt:vector size="16" baseType="lpstr">
      <vt:lpstr>1_NTT DATA DARK </vt:lpstr>
      <vt:lpstr>3_Light Body Slides</vt:lpstr>
      <vt:lpstr>1_NTT DATA LIGHT </vt:lpstr>
      <vt:lpstr>7_NTT DATA LIGHT </vt:lpstr>
      <vt:lpstr>3_NTT DATA LIGHT </vt:lpstr>
      <vt:lpstr>Observability Assessment Plan</vt:lpstr>
      <vt:lpstr>Agenda</vt:lpstr>
      <vt:lpstr>Solution Summary │ Scope &amp; Deliverables </vt:lpstr>
      <vt:lpstr>Solution Summary │ Dependencies on AIB</vt:lpstr>
      <vt:lpstr>High Level Engagement Plan</vt:lpstr>
      <vt:lpstr>Pre-Requisites for the Assessment</vt:lpstr>
      <vt:lpstr>Detailed Workshops</vt:lpstr>
      <vt:lpstr>PowerPoint Presentation</vt:lpstr>
      <vt:lpstr>Key Questions</vt:lpstr>
      <vt:lpstr>Key Deliverable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Janvi Gupta</dc:creator>
  <cp:revision>1</cp:revision>
  <dcterms:created xsi:type="dcterms:W3CDTF">2025-03-05T11:09:51Z</dcterms:created>
  <dcterms:modified xsi:type="dcterms:W3CDTF">2025-03-05T13:09:56Z</dcterms:modified>
</cp:coreProperties>
</file>